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  <p:sldMasterId id="2147483864" r:id="rId2"/>
  </p:sldMasterIdLst>
  <p:notesMasterIdLst>
    <p:notesMasterId r:id="rId22"/>
  </p:notesMasterIdLst>
  <p:sldIdLst>
    <p:sldId id="669" r:id="rId3"/>
    <p:sldId id="703" r:id="rId4"/>
    <p:sldId id="280" r:id="rId5"/>
    <p:sldId id="324" r:id="rId6"/>
    <p:sldId id="271" r:id="rId7"/>
    <p:sldId id="423" r:id="rId8"/>
    <p:sldId id="403" r:id="rId9"/>
    <p:sldId id="426" r:id="rId10"/>
    <p:sldId id="699" r:id="rId11"/>
    <p:sldId id="427" r:id="rId12"/>
    <p:sldId id="1185" r:id="rId13"/>
    <p:sldId id="299" r:id="rId14"/>
    <p:sldId id="315" r:id="rId15"/>
    <p:sldId id="312" r:id="rId16"/>
    <p:sldId id="438" r:id="rId17"/>
    <p:sldId id="440" r:id="rId18"/>
    <p:sldId id="439" r:id="rId19"/>
    <p:sldId id="1184" r:id="rId20"/>
    <p:sldId id="675" r:id="rId21"/>
  </p:sldIdLst>
  <p:sldSz cx="9144000" cy="5143500" type="screen16x9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MSA Strategy" id="{B2F35287-A5EC-473E-8856-21CE55AE6183}">
          <p14:sldIdLst>
            <p14:sldId id="669"/>
            <p14:sldId id="703"/>
            <p14:sldId id="280"/>
            <p14:sldId id="324"/>
            <p14:sldId id="271"/>
            <p14:sldId id="423"/>
            <p14:sldId id="403"/>
            <p14:sldId id="426"/>
            <p14:sldId id="699"/>
            <p14:sldId id="427"/>
            <p14:sldId id="1185"/>
            <p14:sldId id="299"/>
            <p14:sldId id="315"/>
            <p14:sldId id="312"/>
            <p14:sldId id="438"/>
            <p14:sldId id="440"/>
            <p14:sldId id="439"/>
            <p14:sldId id="1184"/>
            <p14:sldId id="6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48">
          <p15:clr>
            <a:srgbClr val="A4A3A4"/>
          </p15:clr>
        </p15:guide>
        <p15:guide id="3" orient="horz" pos="2957">
          <p15:clr>
            <a:srgbClr val="A4A3A4"/>
          </p15:clr>
        </p15:guide>
        <p15:guide id="4" orient="horz" pos="308">
          <p15:clr>
            <a:srgbClr val="A4A3A4"/>
          </p15:clr>
        </p15:guide>
        <p15:guide id="5" orient="horz" pos="3178">
          <p15:clr>
            <a:srgbClr val="A4A3A4"/>
          </p15:clr>
        </p15:guide>
        <p15:guide id="6" orient="horz" pos="924">
          <p15:clr>
            <a:srgbClr val="A4A3A4"/>
          </p15:clr>
        </p15:guide>
        <p15:guide id="7" orient="horz" pos="1623">
          <p15:clr>
            <a:srgbClr val="A4A3A4"/>
          </p15:clr>
        </p15:guide>
        <p15:guide id="8" pos="3881">
          <p15:clr>
            <a:srgbClr val="A4A3A4"/>
          </p15:clr>
        </p15:guide>
        <p15:guide id="9" pos="2220">
          <p15:clr>
            <a:srgbClr val="A4A3A4"/>
          </p15:clr>
        </p15:guide>
        <p15:guide id="10" pos="230">
          <p15:clr>
            <a:srgbClr val="A4A3A4"/>
          </p15:clr>
        </p15:guide>
        <p15:guide id="11" pos="5488">
          <p15:clr>
            <a:srgbClr val="A4A3A4"/>
          </p15:clr>
        </p15:guide>
        <p15:guide id="12" pos="23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0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ryn Banke" initials="KB" lastIdx="34" clrIdx="0">
    <p:extLst>
      <p:ext uri="{19B8F6BF-5375-455C-9EA6-DF929625EA0E}">
        <p15:presenceInfo xmlns:p15="http://schemas.microsoft.com/office/powerpoint/2012/main" userId="S-1-5-21-1229272821-879983540-682003330-400154" providerId="AD"/>
      </p:ext>
    </p:extLst>
  </p:cmAuthor>
  <p:cmAuthor id="2" name="Abby Mayer (BCG Secondment)" initials="AM(S" lastIdx="39" clrIdx="1">
    <p:extLst>
      <p:ext uri="{19B8F6BF-5375-455C-9EA6-DF929625EA0E}">
        <p15:presenceInfo xmlns:p15="http://schemas.microsoft.com/office/powerpoint/2012/main" userId="S-1-5-21-1229272821-879983540-682003330-404028" providerId="AD"/>
      </p:ext>
    </p:extLst>
  </p:cmAuthor>
  <p:cmAuthor id="3" name="Scott Dowell" initials="SD" lastIdx="22" clrIdx="2">
    <p:extLst>
      <p:ext uri="{19B8F6BF-5375-455C-9EA6-DF929625EA0E}">
        <p15:presenceInfo xmlns:p15="http://schemas.microsoft.com/office/powerpoint/2012/main" userId="S-1-5-21-1229272821-879983540-682003330-353691" providerId="AD"/>
      </p:ext>
    </p:extLst>
  </p:cmAuthor>
  <p:cmAuthor id="4" name="Kathryn" initials="K" lastIdx="14" clrIdx="3">
    <p:extLst>
      <p:ext uri="{19B8F6BF-5375-455C-9EA6-DF929625EA0E}">
        <p15:presenceInfo xmlns:p15="http://schemas.microsoft.com/office/powerpoint/2012/main" userId="Kathry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057E18-F2F2-4D39-8E49-BAFD6E71A60D}" v="27" dt="2019-04-01T19:19:18.4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3" autoAdjust="0"/>
    <p:restoredTop sz="85305" autoAdjust="0"/>
  </p:normalViewPr>
  <p:slideViewPr>
    <p:cSldViewPr snapToGrid="0">
      <p:cViewPr varScale="1">
        <p:scale>
          <a:sx n="93" d="100"/>
          <a:sy n="93" d="100"/>
        </p:scale>
        <p:origin x="979" y="72"/>
      </p:cViewPr>
      <p:guideLst>
        <p:guide orient="horz" pos="624"/>
        <p:guide orient="horz" pos="448"/>
        <p:guide orient="horz" pos="2957"/>
        <p:guide orient="horz" pos="308"/>
        <p:guide orient="horz" pos="3178"/>
        <p:guide orient="horz" pos="924"/>
        <p:guide orient="horz" pos="1623"/>
        <p:guide pos="3881"/>
        <p:guide pos="2220"/>
        <p:guide pos="230"/>
        <p:guide pos="5488"/>
        <p:guide pos="230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989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30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thryn Banke" userId="b0b34b2e-f218-432a-85a9-c74d4c486587" providerId="ADAL" clId="{59057E18-F2F2-4D39-8E49-BAFD6E71A60D}"/>
    <pc:docChg chg="undo custSel addSld delSld modSld modSection">
      <pc:chgData name="Kathryn Banke" userId="b0b34b2e-f218-432a-85a9-c74d4c486587" providerId="ADAL" clId="{59057E18-F2F2-4D39-8E49-BAFD6E71A60D}" dt="2019-04-15T07:02:38.877" v="966" actId="1076"/>
      <pc:docMkLst>
        <pc:docMk/>
      </pc:docMkLst>
      <pc:sldChg chg="addSp delSp modSp">
        <pc:chgData name="Kathryn Banke" userId="b0b34b2e-f218-432a-85a9-c74d4c486587" providerId="ADAL" clId="{59057E18-F2F2-4D39-8E49-BAFD6E71A60D}" dt="2019-04-15T06:39:55.056" v="718" actId="14100"/>
        <pc:sldMkLst>
          <pc:docMk/>
          <pc:sldMk cId="244861127" sldId="280"/>
        </pc:sldMkLst>
        <pc:spChg chg="add mod">
          <ac:chgData name="Kathryn Banke" userId="b0b34b2e-f218-432a-85a9-c74d4c486587" providerId="ADAL" clId="{59057E18-F2F2-4D39-8E49-BAFD6E71A60D}" dt="2019-04-15T06:39:55.056" v="718" actId="14100"/>
          <ac:spMkLst>
            <pc:docMk/>
            <pc:sldMk cId="244861127" sldId="280"/>
            <ac:spMk id="6" creationId="{6271B7F2-97A4-4C3C-BC7A-C9025C57D28A}"/>
          </ac:spMkLst>
        </pc:spChg>
        <pc:spChg chg="mod">
          <ac:chgData name="Kathryn Banke" userId="b0b34b2e-f218-432a-85a9-c74d4c486587" providerId="ADAL" clId="{59057E18-F2F2-4D39-8E49-BAFD6E71A60D}" dt="2019-04-15T06:10:33.993" v="710" actId="1076"/>
          <ac:spMkLst>
            <pc:docMk/>
            <pc:sldMk cId="244861127" sldId="280"/>
            <ac:spMk id="347" creationId="{00000000-0000-0000-0000-000000000000}"/>
          </ac:spMkLst>
        </pc:spChg>
        <pc:picChg chg="add mod">
          <ac:chgData name="Kathryn Banke" userId="b0b34b2e-f218-432a-85a9-c74d4c486587" providerId="ADAL" clId="{59057E18-F2F2-4D39-8E49-BAFD6E71A60D}" dt="2019-04-15T06:39:51.482" v="717" actId="14100"/>
          <ac:picMkLst>
            <pc:docMk/>
            <pc:sldMk cId="244861127" sldId="280"/>
            <ac:picMk id="5" creationId="{CB615D0F-A47A-466F-9739-716D9C684AB7}"/>
          </ac:picMkLst>
        </pc:picChg>
        <pc:picChg chg="del">
          <ac:chgData name="Kathryn Banke" userId="b0b34b2e-f218-432a-85a9-c74d4c486587" providerId="ADAL" clId="{59057E18-F2F2-4D39-8E49-BAFD6E71A60D}" dt="2019-04-15T06:10:02.609" v="707" actId="478"/>
          <ac:picMkLst>
            <pc:docMk/>
            <pc:sldMk cId="244861127" sldId="280"/>
            <ac:picMk id="11" creationId="{69609D01-6E0D-4E4E-B401-FEBEC9115E08}"/>
          </ac:picMkLst>
        </pc:picChg>
      </pc:sldChg>
      <pc:sldChg chg="modSp add">
        <pc:chgData name="Kathryn Banke" userId="b0b34b2e-f218-432a-85a9-c74d4c486587" providerId="ADAL" clId="{59057E18-F2F2-4D39-8E49-BAFD6E71A60D}" dt="2019-04-15T05:55:10.208" v="666" actId="207"/>
        <pc:sldMkLst>
          <pc:docMk/>
          <pc:sldMk cId="49628806" sldId="299"/>
        </pc:sldMkLst>
        <pc:spChg chg="mod">
          <ac:chgData name="Kathryn Banke" userId="b0b34b2e-f218-432a-85a9-c74d4c486587" providerId="ADAL" clId="{59057E18-F2F2-4D39-8E49-BAFD6E71A60D}" dt="2019-04-15T05:55:10.208" v="666" actId="207"/>
          <ac:spMkLst>
            <pc:docMk/>
            <pc:sldMk cId="49628806" sldId="299"/>
            <ac:spMk id="5" creationId="{024068E4-CBDF-4383-B210-CF8B74D14DA3}"/>
          </ac:spMkLst>
        </pc:spChg>
        <pc:graphicFrameChg chg="mod">
          <ac:chgData name="Kathryn Banke" userId="b0b34b2e-f218-432a-85a9-c74d4c486587" providerId="ADAL" clId="{59057E18-F2F2-4D39-8E49-BAFD6E71A60D}" dt="2019-04-05T18:42:34.262" v="333" actId="207"/>
          <ac:graphicFrameMkLst>
            <pc:docMk/>
            <pc:sldMk cId="49628806" sldId="299"/>
            <ac:graphicFrameMk id="10" creationId="{22C4660D-1DAB-465E-87DF-B809ADC282C4}"/>
          </ac:graphicFrameMkLst>
        </pc:graphicFrameChg>
      </pc:sldChg>
      <pc:sldChg chg="addSp delSp modSp add">
        <pc:chgData name="Kathryn Banke" userId="b0b34b2e-f218-432a-85a9-c74d4c486587" providerId="ADAL" clId="{59057E18-F2F2-4D39-8E49-BAFD6E71A60D}" dt="2019-04-15T06:01:05.150" v="702" actId="207"/>
        <pc:sldMkLst>
          <pc:docMk/>
          <pc:sldMk cId="726425791" sldId="312"/>
        </pc:sldMkLst>
        <pc:spChg chg="mod">
          <ac:chgData name="Kathryn Banke" userId="b0b34b2e-f218-432a-85a9-c74d4c486587" providerId="ADAL" clId="{59057E18-F2F2-4D39-8E49-BAFD6E71A60D}" dt="2019-04-15T06:01:05.150" v="702" actId="207"/>
          <ac:spMkLst>
            <pc:docMk/>
            <pc:sldMk cId="726425791" sldId="312"/>
            <ac:spMk id="7" creationId="{E0390658-22C8-48EA-822F-EEAA694BC208}"/>
          </ac:spMkLst>
        </pc:spChg>
        <pc:spChg chg="del">
          <ac:chgData name="Kathryn Banke" userId="b0b34b2e-f218-432a-85a9-c74d4c486587" providerId="ADAL" clId="{59057E18-F2F2-4D39-8E49-BAFD6E71A60D}" dt="2019-04-05T18:43:28.599" v="335" actId="478"/>
          <ac:spMkLst>
            <pc:docMk/>
            <pc:sldMk cId="726425791" sldId="312"/>
            <ac:spMk id="9" creationId="{ABAEDC46-0BF7-47E7-B03D-B8982A0FBA0A}"/>
          </ac:spMkLst>
        </pc:spChg>
        <pc:spChg chg="mod">
          <ac:chgData name="Kathryn Banke" userId="b0b34b2e-f218-432a-85a9-c74d4c486587" providerId="ADAL" clId="{59057E18-F2F2-4D39-8E49-BAFD6E71A60D}" dt="2019-04-15T05:58:45.039" v="684" actId="207"/>
          <ac:spMkLst>
            <pc:docMk/>
            <pc:sldMk cId="726425791" sldId="312"/>
            <ac:spMk id="10" creationId="{3FC64D14-BCDE-4854-AF44-5AEA6AC35B27}"/>
          </ac:spMkLst>
        </pc:spChg>
        <pc:spChg chg="add mod">
          <ac:chgData name="Kathryn Banke" userId="b0b34b2e-f218-432a-85a9-c74d4c486587" providerId="ADAL" clId="{59057E18-F2F2-4D39-8E49-BAFD6E71A60D}" dt="2019-04-15T06:00:07.292" v="693" actId="207"/>
          <ac:spMkLst>
            <pc:docMk/>
            <pc:sldMk cId="726425791" sldId="312"/>
            <ac:spMk id="11" creationId="{2DA36226-BDB1-43A1-AFC3-C3D0E2194D11}"/>
          </ac:spMkLst>
        </pc:spChg>
        <pc:graphicFrameChg chg="mod">
          <ac:chgData name="Kathryn Banke" userId="b0b34b2e-f218-432a-85a9-c74d4c486587" providerId="ADAL" clId="{59057E18-F2F2-4D39-8E49-BAFD6E71A60D}" dt="2019-04-15T05:58:39.982" v="683" actId="207"/>
          <ac:graphicFrameMkLst>
            <pc:docMk/>
            <pc:sldMk cId="726425791" sldId="312"/>
            <ac:graphicFrameMk id="8" creationId="{F475860E-F97D-4B6C-B51D-B9026E2575A0}"/>
          </ac:graphicFrameMkLst>
        </pc:graphicFrameChg>
      </pc:sldChg>
      <pc:sldChg chg="addSp delSp modSp add del">
        <pc:chgData name="Kathryn Banke" userId="b0b34b2e-f218-432a-85a9-c74d4c486587" providerId="ADAL" clId="{59057E18-F2F2-4D39-8E49-BAFD6E71A60D}" dt="2019-04-15T06:43:22.360" v="836" actId="2696"/>
        <pc:sldMkLst>
          <pc:docMk/>
          <pc:sldMk cId="3951710937" sldId="313"/>
        </pc:sldMkLst>
        <pc:spChg chg="mod">
          <ac:chgData name="Kathryn Banke" userId="b0b34b2e-f218-432a-85a9-c74d4c486587" providerId="ADAL" clId="{59057E18-F2F2-4D39-8E49-BAFD6E71A60D}" dt="2019-04-15T06:42:52.135" v="835" actId="1076"/>
          <ac:spMkLst>
            <pc:docMk/>
            <pc:sldMk cId="3951710937" sldId="313"/>
            <ac:spMk id="2" creationId="{A13AAEAD-0BEE-4EDE-B104-6A91DA81FEE7}"/>
          </ac:spMkLst>
        </pc:spChg>
        <pc:spChg chg="add mod">
          <ac:chgData name="Kathryn Banke" userId="b0b34b2e-f218-432a-85a9-c74d4c486587" providerId="ADAL" clId="{59057E18-F2F2-4D39-8E49-BAFD6E71A60D}" dt="2019-04-15T06:42:35.786" v="799" actId="20577"/>
          <ac:spMkLst>
            <pc:docMk/>
            <pc:sldMk cId="3951710937" sldId="313"/>
            <ac:spMk id="3" creationId="{54012BBA-EBAB-4223-A3A3-9D5FE63F2715}"/>
          </ac:spMkLst>
        </pc:spChg>
        <pc:spChg chg="mod">
          <ac:chgData name="Kathryn Banke" userId="b0b34b2e-f218-432a-85a9-c74d4c486587" providerId="ADAL" clId="{59057E18-F2F2-4D39-8E49-BAFD6E71A60D}" dt="2019-04-15T06:00:52.954" v="700" actId="207"/>
          <ac:spMkLst>
            <pc:docMk/>
            <pc:sldMk cId="3951710937" sldId="313"/>
            <ac:spMk id="6" creationId="{9C4DA9FB-873B-493A-BA00-7D4F1BB1B47B}"/>
          </ac:spMkLst>
        </pc:spChg>
        <pc:spChg chg="add mod">
          <ac:chgData name="Kathryn Banke" userId="b0b34b2e-f218-432a-85a9-c74d4c486587" providerId="ADAL" clId="{59057E18-F2F2-4D39-8E49-BAFD6E71A60D}" dt="2019-04-15T06:00:18.222" v="695" actId="207"/>
          <ac:spMkLst>
            <pc:docMk/>
            <pc:sldMk cId="3951710937" sldId="313"/>
            <ac:spMk id="8" creationId="{9878FC2F-39AE-4B03-A055-82F77D53AD06}"/>
          </ac:spMkLst>
        </pc:spChg>
        <pc:spChg chg="del">
          <ac:chgData name="Kathryn Banke" userId="b0b34b2e-f218-432a-85a9-c74d4c486587" providerId="ADAL" clId="{59057E18-F2F2-4D39-8E49-BAFD6E71A60D}" dt="2019-04-05T18:45:43.646" v="416" actId="478"/>
          <ac:spMkLst>
            <pc:docMk/>
            <pc:sldMk cId="3951710937" sldId="313"/>
            <ac:spMk id="9" creationId="{87DA1FF9-BF08-41D5-9FC8-00B820FD175C}"/>
          </ac:spMkLst>
        </pc:spChg>
        <pc:spChg chg="mod">
          <ac:chgData name="Kathryn Banke" userId="b0b34b2e-f218-432a-85a9-c74d4c486587" providerId="ADAL" clId="{59057E18-F2F2-4D39-8E49-BAFD6E71A60D}" dt="2019-04-15T05:59:20.446" v="688" actId="207"/>
          <ac:spMkLst>
            <pc:docMk/>
            <pc:sldMk cId="3951710937" sldId="313"/>
            <ac:spMk id="10" creationId="{85595D50-69D8-41D4-A3A7-2EC678C2FC6A}"/>
          </ac:spMkLst>
        </pc:spChg>
        <pc:graphicFrameChg chg="mod">
          <ac:chgData name="Kathryn Banke" userId="b0b34b2e-f218-432a-85a9-c74d4c486587" providerId="ADAL" clId="{59057E18-F2F2-4D39-8E49-BAFD6E71A60D}" dt="2019-04-15T05:59:16.500" v="687" actId="207"/>
          <ac:graphicFrameMkLst>
            <pc:docMk/>
            <pc:sldMk cId="3951710937" sldId="313"/>
            <ac:graphicFrameMk id="11" creationId="{DE43D764-8D8F-4DE1-95A7-B79DF6AD6EE0}"/>
          </ac:graphicFrameMkLst>
        </pc:graphicFrameChg>
      </pc:sldChg>
      <pc:sldChg chg="addSp modSp add">
        <pc:chgData name="Kathryn Banke" userId="b0b34b2e-f218-432a-85a9-c74d4c486587" providerId="ADAL" clId="{59057E18-F2F2-4D39-8E49-BAFD6E71A60D}" dt="2019-04-15T06:01:10.816" v="703" actId="207"/>
        <pc:sldMkLst>
          <pc:docMk/>
          <pc:sldMk cId="1356452604" sldId="315"/>
        </pc:sldMkLst>
        <pc:spChg chg="mod">
          <ac:chgData name="Kathryn Banke" userId="b0b34b2e-f218-432a-85a9-c74d4c486587" providerId="ADAL" clId="{59057E18-F2F2-4D39-8E49-BAFD6E71A60D}" dt="2019-04-05T18:34:22.285" v="290" actId="1076"/>
          <ac:spMkLst>
            <pc:docMk/>
            <pc:sldMk cId="1356452604" sldId="315"/>
            <ac:spMk id="2" creationId="{A13AAEAD-0BEE-4EDE-B104-6A91DA81FEE7}"/>
          </ac:spMkLst>
        </pc:spChg>
        <pc:spChg chg="add mod">
          <ac:chgData name="Kathryn Banke" userId="b0b34b2e-f218-432a-85a9-c74d4c486587" providerId="ADAL" clId="{59057E18-F2F2-4D39-8E49-BAFD6E71A60D}" dt="2019-04-05T18:34:07.848" v="287" actId="1076"/>
          <ac:spMkLst>
            <pc:docMk/>
            <pc:sldMk cId="1356452604" sldId="315"/>
            <ac:spMk id="3" creationId="{D4D1742C-0F58-4736-A42F-DE374B11E6EB}"/>
          </ac:spMkLst>
        </pc:spChg>
        <pc:spChg chg="mod">
          <ac:chgData name="Kathryn Banke" userId="b0b34b2e-f218-432a-85a9-c74d4c486587" providerId="ADAL" clId="{59057E18-F2F2-4D39-8E49-BAFD6E71A60D}" dt="2019-04-15T06:01:10.816" v="703" actId="207"/>
          <ac:spMkLst>
            <pc:docMk/>
            <pc:sldMk cId="1356452604" sldId="315"/>
            <ac:spMk id="6" creationId="{E5ABC165-C449-4211-8742-652AF29E6FA9}"/>
          </ac:spMkLst>
        </pc:spChg>
        <pc:spChg chg="mod">
          <ac:chgData name="Kathryn Banke" userId="b0b34b2e-f218-432a-85a9-c74d4c486587" providerId="ADAL" clId="{59057E18-F2F2-4D39-8E49-BAFD6E71A60D}" dt="2019-04-15T05:58:30.087" v="682" actId="207"/>
          <ac:spMkLst>
            <pc:docMk/>
            <pc:sldMk cId="1356452604" sldId="315"/>
            <ac:spMk id="7" creationId="{FF65B398-48D2-4189-B20C-13D0215866EE}"/>
          </ac:spMkLst>
        </pc:spChg>
        <pc:spChg chg="mod">
          <ac:chgData name="Kathryn Banke" userId="b0b34b2e-f218-432a-85a9-c74d4c486587" providerId="ADAL" clId="{59057E18-F2F2-4D39-8E49-BAFD6E71A60D}" dt="2019-04-15T06:00:11.909" v="694" actId="207"/>
          <ac:spMkLst>
            <pc:docMk/>
            <pc:sldMk cId="1356452604" sldId="315"/>
            <ac:spMk id="9" creationId="{E2984BBE-F801-44F3-B8B4-2D895F7C22ED}"/>
          </ac:spMkLst>
        </pc:spChg>
        <pc:graphicFrameChg chg="mod">
          <ac:chgData name="Kathryn Banke" userId="b0b34b2e-f218-432a-85a9-c74d4c486587" providerId="ADAL" clId="{59057E18-F2F2-4D39-8E49-BAFD6E71A60D}" dt="2019-04-15T05:58:07.891" v="681" actId="207"/>
          <ac:graphicFrameMkLst>
            <pc:docMk/>
            <pc:sldMk cId="1356452604" sldId="315"/>
            <ac:graphicFrameMk id="5" creationId="{8B8EAF19-E7C4-4CAF-94F2-6A5A39999BC9}"/>
          </ac:graphicFrameMkLst>
        </pc:graphicFrameChg>
      </pc:sldChg>
      <pc:sldChg chg="modSp">
        <pc:chgData name="Kathryn Banke" userId="b0b34b2e-f218-432a-85a9-c74d4c486587" providerId="ADAL" clId="{59057E18-F2F2-4D39-8E49-BAFD6E71A60D}" dt="2019-04-15T07:02:38.877" v="966" actId="1076"/>
        <pc:sldMkLst>
          <pc:docMk/>
          <pc:sldMk cId="2911690792" sldId="324"/>
        </pc:sldMkLst>
        <pc:spChg chg="mod">
          <ac:chgData name="Kathryn Banke" userId="b0b34b2e-f218-432a-85a9-c74d4c486587" providerId="ADAL" clId="{59057E18-F2F2-4D39-8E49-BAFD6E71A60D}" dt="2019-04-15T07:02:23.157" v="963" actId="1076"/>
          <ac:spMkLst>
            <pc:docMk/>
            <pc:sldMk cId="2911690792" sldId="324"/>
            <ac:spMk id="4" creationId="{384DE7E5-7B9F-46C5-B62A-8D3E77C2409F}"/>
          </ac:spMkLst>
        </pc:spChg>
        <pc:spChg chg="mod">
          <ac:chgData name="Kathryn Banke" userId="b0b34b2e-f218-432a-85a9-c74d4c486587" providerId="ADAL" clId="{59057E18-F2F2-4D39-8E49-BAFD6E71A60D}" dt="2019-04-15T07:02:32.929" v="965" actId="1076"/>
          <ac:spMkLst>
            <pc:docMk/>
            <pc:sldMk cId="2911690792" sldId="324"/>
            <ac:spMk id="5" creationId="{A3F64E4D-1EC7-4A8F-A52D-DC92222E876E}"/>
          </ac:spMkLst>
        </pc:spChg>
        <pc:spChg chg="mod">
          <ac:chgData name="Kathryn Banke" userId="b0b34b2e-f218-432a-85a9-c74d4c486587" providerId="ADAL" clId="{59057E18-F2F2-4D39-8E49-BAFD6E71A60D}" dt="2019-04-15T07:02:38.877" v="966" actId="1076"/>
          <ac:spMkLst>
            <pc:docMk/>
            <pc:sldMk cId="2911690792" sldId="324"/>
            <ac:spMk id="61" creationId="{00000000-0000-0000-0000-000000000000}"/>
          </ac:spMkLst>
        </pc:spChg>
        <pc:picChg chg="mod">
          <ac:chgData name="Kathryn Banke" userId="b0b34b2e-f218-432a-85a9-c74d4c486587" providerId="ADAL" clId="{59057E18-F2F2-4D39-8E49-BAFD6E71A60D}" dt="2019-04-15T07:02:05.880" v="960" actId="1076"/>
          <ac:picMkLst>
            <pc:docMk/>
            <pc:sldMk cId="2911690792" sldId="324"/>
            <ac:picMk id="3" creationId="{66C78239-5A88-402F-A488-63C531D0712A}"/>
          </ac:picMkLst>
        </pc:picChg>
      </pc:sldChg>
      <pc:sldChg chg="modSp">
        <pc:chgData name="Kathryn Banke" userId="b0b34b2e-f218-432a-85a9-c74d4c486587" providerId="ADAL" clId="{59057E18-F2F2-4D39-8E49-BAFD6E71A60D}" dt="2019-04-05T17:31:33.999" v="4" actId="20577"/>
        <pc:sldMkLst>
          <pc:docMk/>
          <pc:sldMk cId="3692744655" sldId="403"/>
        </pc:sldMkLst>
        <pc:spChg chg="mod">
          <ac:chgData name="Kathryn Banke" userId="b0b34b2e-f218-432a-85a9-c74d4c486587" providerId="ADAL" clId="{59057E18-F2F2-4D39-8E49-BAFD6E71A60D}" dt="2019-04-05T17:31:33.999" v="4" actId="20577"/>
          <ac:spMkLst>
            <pc:docMk/>
            <pc:sldMk cId="3692744655" sldId="403"/>
            <ac:spMk id="5" creationId="{CE2CAD29-E780-4052-84C5-0AA050BEB5C3}"/>
          </ac:spMkLst>
        </pc:spChg>
      </pc:sldChg>
      <pc:sldChg chg="delSp modSp">
        <pc:chgData name="Kathryn Banke" userId="b0b34b2e-f218-432a-85a9-c74d4c486587" providerId="ADAL" clId="{59057E18-F2F2-4D39-8E49-BAFD6E71A60D}" dt="2019-04-05T17:31:23.574" v="3" actId="478"/>
        <pc:sldMkLst>
          <pc:docMk/>
          <pc:sldMk cId="1355386572" sldId="423"/>
        </pc:sldMkLst>
        <pc:spChg chg="del mod">
          <ac:chgData name="Kathryn Banke" userId="b0b34b2e-f218-432a-85a9-c74d4c486587" providerId="ADAL" clId="{59057E18-F2F2-4D39-8E49-BAFD6E71A60D}" dt="2019-04-05T17:31:23.574" v="3" actId="478"/>
          <ac:spMkLst>
            <pc:docMk/>
            <pc:sldMk cId="1355386572" sldId="423"/>
            <ac:spMk id="9" creationId="{79B1663C-9263-48D9-85F3-DD8D3A375DBE}"/>
          </ac:spMkLst>
        </pc:spChg>
      </pc:sldChg>
      <pc:sldChg chg="del">
        <pc:chgData name="Kathryn Banke" userId="b0b34b2e-f218-432a-85a9-c74d4c486587" providerId="ADAL" clId="{59057E18-F2F2-4D39-8E49-BAFD6E71A60D}" dt="2019-04-05T18:26:26.172" v="18" actId="2696"/>
        <pc:sldMkLst>
          <pc:docMk/>
          <pc:sldMk cId="1834318148" sldId="424"/>
        </pc:sldMkLst>
      </pc:sldChg>
      <pc:sldChg chg="modSp">
        <pc:chgData name="Kathryn Banke" userId="b0b34b2e-f218-432a-85a9-c74d4c486587" providerId="ADAL" clId="{59057E18-F2F2-4D39-8E49-BAFD6E71A60D}" dt="2019-04-05T18:26:36.928" v="19" actId="1076"/>
        <pc:sldMkLst>
          <pc:docMk/>
          <pc:sldMk cId="2246190998" sldId="426"/>
        </pc:sldMkLst>
        <pc:spChg chg="mod">
          <ac:chgData name="Kathryn Banke" userId="b0b34b2e-f218-432a-85a9-c74d4c486587" providerId="ADAL" clId="{59057E18-F2F2-4D39-8E49-BAFD6E71A60D}" dt="2019-04-05T18:26:36.928" v="19" actId="1076"/>
          <ac:spMkLst>
            <pc:docMk/>
            <pc:sldMk cId="2246190998" sldId="426"/>
            <ac:spMk id="13" creationId="{A89B28AE-8FF8-4A6B-9129-0A1F019D93C1}"/>
          </ac:spMkLst>
        </pc:spChg>
      </pc:sldChg>
      <pc:sldChg chg="addSp delSp modSp">
        <pc:chgData name="Kathryn Banke" userId="b0b34b2e-f218-432a-85a9-c74d4c486587" providerId="ADAL" clId="{59057E18-F2F2-4D39-8E49-BAFD6E71A60D}" dt="2019-04-05T18:30:52.071" v="132" actId="20577"/>
        <pc:sldMkLst>
          <pc:docMk/>
          <pc:sldMk cId="1109427256" sldId="427"/>
        </pc:sldMkLst>
        <pc:spChg chg="add del">
          <ac:chgData name="Kathryn Banke" userId="b0b34b2e-f218-432a-85a9-c74d4c486587" providerId="ADAL" clId="{59057E18-F2F2-4D39-8E49-BAFD6E71A60D}" dt="2019-04-05T18:05:42.328" v="7"/>
          <ac:spMkLst>
            <pc:docMk/>
            <pc:sldMk cId="1109427256" sldId="427"/>
            <ac:spMk id="3" creationId="{D5893FBC-F3EF-49D3-BEFB-0D19ED7864AD}"/>
          </ac:spMkLst>
        </pc:spChg>
        <pc:spChg chg="mod">
          <ac:chgData name="Kathryn Banke" userId="b0b34b2e-f218-432a-85a9-c74d4c486587" providerId="ADAL" clId="{59057E18-F2F2-4D39-8E49-BAFD6E71A60D}" dt="2019-04-05T18:30:52.071" v="132" actId="20577"/>
          <ac:spMkLst>
            <pc:docMk/>
            <pc:sldMk cId="1109427256" sldId="427"/>
            <ac:spMk id="6" creationId="{94E9A513-1229-4D03-8DD8-9BE9CA8B400F}"/>
          </ac:spMkLst>
        </pc:spChg>
        <pc:spChg chg="del">
          <ac:chgData name="Kathryn Banke" userId="b0b34b2e-f218-432a-85a9-c74d4c486587" providerId="ADAL" clId="{59057E18-F2F2-4D39-8E49-BAFD6E71A60D}" dt="2019-04-05T18:28:56.412" v="27" actId="478"/>
          <ac:spMkLst>
            <pc:docMk/>
            <pc:sldMk cId="1109427256" sldId="427"/>
            <ac:spMk id="17" creationId="{C4DF42F1-3044-4E18-875B-FFE66E167200}"/>
          </ac:spMkLst>
        </pc:spChg>
        <pc:spChg chg="mod">
          <ac:chgData name="Kathryn Banke" userId="b0b34b2e-f218-432a-85a9-c74d4c486587" providerId="ADAL" clId="{59057E18-F2F2-4D39-8E49-BAFD6E71A60D}" dt="2019-04-05T18:29:24.977" v="40" actId="20577"/>
          <ac:spMkLst>
            <pc:docMk/>
            <pc:sldMk cId="1109427256" sldId="427"/>
            <ac:spMk id="26" creationId="{D5B9FDEB-CA66-4787-BACB-6EE9BCBD3D3D}"/>
          </ac:spMkLst>
        </pc:spChg>
        <pc:spChg chg="mod">
          <ac:chgData name="Kathryn Banke" userId="b0b34b2e-f218-432a-85a9-c74d4c486587" providerId="ADAL" clId="{59057E18-F2F2-4D39-8E49-BAFD6E71A60D}" dt="2019-04-05T18:28:51.291" v="26" actId="20577"/>
          <ac:spMkLst>
            <pc:docMk/>
            <pc:sldMk cId="1109427256" sldId="427"/>
            <ac:spMk id="76" creationId="{33FAFBD0-7FE6-4632-A06C-C18587AB6277}"/>
          </ac:spMkLst>
        </pc:spChg>
      </pc:sldChg>
      <pc:sldChg chg="addSp delSp modSp add">
        <pc:chgData name="Kathryn Banke" userId="b0b34b2e-f218-432a-85a9-c74d4c486587" providerId="ADAL" clId="{59057E18-F2F2-4D39-8E49-BAFD6E71A60D}" dt="2019-04-15T06:00:58.485" v="701" actId="207"/>
        <pc:sldMkLst>
          <pc:docMk/>
          <pc:sldMk cId="1931024520" sldId="438"/>
        </pc:sldMkLst>
        <pc:spChg chg="add mod">
          <ac:chgData name="Kathryn Banke" userId="b0b34b2e-f218-432a-85a9-c74d4c486587" providerId="ADAL" clId="{59057E18-F2F2-4D39-8E49-BAFD6E71A60D}" dt="2019-04-15T06:00:01.249" v="692" actId="207"/>
          <ac:spMkLst>
            <pc:docMk/>
            <pc:sldMk cId="1931024520" sldId="438"/>
            <ac:spMk id="6" creationId="{C055D0F6-52A3-45EA-B68C-3EBD6C9C6B05}"/>
          </ac:spMkLst>
        </pc:spChg>
        <pc:spChg chg="mod">
          <ac:chgData name="Kathryn Banke" userId="b0b34b2e-f218-432a-85a9-c74d4c486587" providerId="ADAL" clId="{59057E18-F2F2-4D39-8E49-BAFD6E71A60D}" dt="2019-04-15T06:00:58.485" v="701" actId="207"/>
          <ac:spMkLst>
            <pc:docMk/>
            <pc:sldMk cId="1931024520" sldId="438"/>
            <ac:spMk id="12" creationId="{E8F2716C-7F38-4A99-999A-0341460EF5FB}"/>
          </ac:spMkLst>
        </pc:spChg>
        <pc:spChg chg="del mod">
          <ac:chgData name="Kathryn Banke" userId="b0b34b2e-f218-432a-85a9-c74d4c486587" providerId="ADAL" clId="{59057E18-F2F2-4D39-8E49-BAFD6E71A60D}" dt="2019-04-05T18:45:23.216" v="413" actId="478"/>
          <ac:spMkLst>
            <pc:docMk/>
            <pc:sldMk cId="1931024520" sldId="438"/>
            <ac:spMk id="13" creationId="{06930022-4962-4437-8FDB-475D88EB0466}"/>
          </ac:spMkLst>
        </pc:spChg>
        <pc:graphicFrameChg chg="mod">
          <ac:chgData name="Kathryn Banke" userId="b0b34b2e-f218-432a-85a9-c74d4c486587" providerId="ADAL" clId="{59057E18-F2F2-4D39-8E49-BAFD6E71A60D}" dt="2019-04-15T05:59:06.061" v="686" actId="207"/>
          <ac:graphicFrameMkLst>
            <pc:docMk/>
            <pc:sldMk cId="1931024520" sldId="438"/>
            <ac:graphicFrameMk id="14" creationId="{F497F015-E328-44C5-8C76-E13E85D5CD41}"/>
          </ac:graphicFrameMkLst>
        </pc:graphicFrameChg>
      </pc:sldChg>
      <pc:sldChg chg="addSp delSp modSp add">
        <pc:chgData name="Kathryn Banke" userId="b0b34b2e-f218-432a-85a9-c74d4c486587" providerId="ADAL" clId="{59057E18-F2F2-4D39-8E49-BAFD6E71A60D}" dt="2019-04-15T06:01:47.984" v="706" actId="207"/>
        <pc:sldMkLst>
          <pc:docMk/>
          <pc:sldMk cId="39619496" sldId="439"/>
        </pc:sldMkLst>
        <pc:spChg chg="mod">
          <ac:chgData name="Kathryn Banke" userId="b0b34b2e-f218-432a-85a9-c74d4c486587" providerId="ADAL" clId="{59057E18-F2F2-4D39-8E49-BAFD6E71A60D}" dt="2019-04-05T18:39:42.324" v="321" actId="1076"/>
          <ac:spMkLst>
            <pc:docMk/>
            <pc:sldMk cId="39619496" sldId="439"/>
            <ac:spMk id="2" creationId="{A13AAEAD-0BEE-4EDE-B104-6A91DA81FEE7}"/>
          </ac:spMkLst>
        </pc:spChg>
        <pc:spChg chg="add mod">
          <ac:chgData name="Kathryn Banke" userId="b0b34b2e-f218-432a-85a9-c74d4c486587" providerId="ADAL" clId="{59057E18-F2F2-4D39-8E49-BAFD6E71A60D}" dt="2019-04-15T06:00:29.264" v="697" actId="207"/>
          <ac:spMkLst>
            <pc:docMk/>
            <pc:sldMk cId="39619496" sldId="439"/>
            <ac:spMk id="6" creationId="{B4D8F3F2-BF18-4FA3-A34A-B2CD47217F16}"/>
          </ac:spMkLst>
        </pc:spChg>
        <pc:spChg chg="mod">
          <ac:chgData name="Kathryn Banke" userId="b0b34b2e-f218-432a-85a9-c74d4c486587" providerId="ADAL" clId="{59057E18-F2F2-4D39-8E49-BAFD6E71A60D}" dt="2019-04-15T06:00:42.138" v="698" actId="207"/>
          <ac:spMkLst>
            <pc:docMk/>
            <pc:sldMk cId="39619496" sldId="439"/>
            <ac:spMk id="10" creationId="{2D3767BB-A09F-42F4-A858-784AE2284073}"/>
          </ac:spMkLst>
        </pc:spChg>
        <pc:spChg chg="del mod">
          <ac:chgData name="Kathryn Banke" userId="b0b34b2e-f218-432a-85a9-c74d4c486587" providerId="ADAL" clId="{59057E18-F2F2-4D39-8E49-BAFD6E71A60D}" dt="2019-04-05T18:46:48.185" v="425" actId="478"/>
          <ac:spMkLst>
            <pc:docMk/>
            <pc:sldMk cId="39619496" sldId="439"/>
            <ac:spMk id="11" creationId="{F10A04AB-9F62-4642-8BE1-26EF9D3FC7A6}"/>
          </ac:spMkLst>
        </pc:spChg>
        <pc:graphicFrameChg chg="mod">
          <ac:chgData name="Kathryn Banke" userId="b0b34b2e-f218-432a-85a9-c74d4c486587" providerId="ADAL" clId="{59057E18-F2F2-4D39-8E49-BAFD6E71A60D}" dt="2019-04-15T06:01:47.984" v="706" actId="207"/>
          <ac:graphicFrameMkLst>
            <pc:docMk/>
            <pc:sldMk cId="39619496" sldId="439"/>
            <ac:graphicFrameMk id="12" creationId="{29A11F1B-208A-4302-81BF-D197C1BDA259}"/>
          </ac:graphicFrameMkLst>
        </pc:graphicFrameChg>
      </pc:sldChg>
      <pc:sldChg chg="addSp delSp modSp add">
        <pc:chgData name="Kathryn Banke" userId="b0b34b2e-f218-432a-85a9-c74d4c486587" providerId="ADAL" clId="{59057E18-F2F2-4D39-8E49-BAFD6E71A60D}" dt="2019-04-15T06:42:28.254" v="776" actId="20577"/>
        <pc:sldMkLst>
          <pc:docMk/>
          <pc:sldMk cId="2412560468" sldId="440"/>
        </pc:sldMkLst>
        <pc:spChg chg="mod">
          <ac:chgData name="Kathryn Banke" userId="b0b34b2e-f218-432a-85a9-c74d4c486587" providerId="ADAL" clId="{59057E18-F2F2-4D39-8E49-BAFD6E71A60D}" dt="2019-04-15T06:42:05.743" v="737" actId="20577"/>
          <ac:spMkLst>
            <pc:docMk/>
            <pc:sldMk cId="2412560468" sldId="440"/>
            <ac:spMk id="2" creationId="{EF399AF1-C9EF-4439-BEA9-6C41F3B8024D}"/>
          </ac:spMkLst>
        </pc:spChg>
        <pc:spChg chg="mod">
          <ac:chgData name="Kathryn Banke" userId="b0b34b2e-f218-432a-85a9-c74d4c486587" providerId="ADAL" clId="{59057E18-F2F2-4D39-8E49-BAFD6E71A60D}" dt="2019-04-05T18:39:05.276" v="320" actId="207"/>
          <ac:spMkLst>
            <pc:docMk/>
            <pc:sldMk cId="2412560468" sldId="440"/>
            <ac:spMk id="9" creationId="{371B2407-BF91-4D1A-A6B9-29584349EC6E}"/>
          </ac:spMkLst>
        </pc:spChg>
        <pc:spChg chg="mod">
          <ac:chgData name="Kathryn Banke" userId="b0b34b2e-f218-432a-85a9-c74d4c486587" providerId="ADAL" clId="{59057E18-F2F2-4D39-8E49-BAFD6E71A60D}" dt="2019-04-15T06:00:48.053" v="699" actId="207"/>
          <ac:spMkLst>
            <pc:docMk/>
            <pc:sldMk cId="2412560468" sldId="440"/>
            <ac:spMk id="11" creationId="{687EFE25-AFCD-41E2-BB55-B72D17990780}"/>
          </ac:spMkLst>
        </pc:spChg>
        <pc:spChg chg="del mod">
          <ac:chgData name="Kathryn Banke" userId="b0b34b2e-f218-432a-85a9-c74d4c486587" providerId="ADAL" clId="{59057E18-F2F2-4D39-8E49-BAFD6E71A60D}" dt="2019-04-05T18:46:18.941" v="420" actId="478"/>
          <ac:spMkLst>
            <pc:docMk/>
            <pc:sldMk cId="2412560468" sldId="440"/>
            <ac:spMk id="12" creationId="{146F7CB7-51BD-401F-936B-9044AC3D8485}"/>
          </ac:spMkLst>
        </pc:spChg>
        <pc:spChg chg="add mod">
          <ac:chgData name="Kathryn Banke" userId="b0b34b2e-f218-432a-85a9-c74d4c486587" providerId="ADAL" clId="{59057E18-F2F2-4D39-8E49-BAFD6E71A60D}" dt="2019-04-15T06:42:28.254" v="776" actId="20577"/>
          <ac:spMkLst>
            <pc:docMk/>
            <pc:sldMk cId="2412560468" sldId="440"/>
            <ac:spMk id="13" creationId="{7FD72699-0494-47EE-9FBD-2825ED433AB3}"/>
          </ac:spMkLst>
        </pc:spChg>
        <pc:spChg chg="add mod">
          <ac:chgData name="Kathryn Banke" userId="b0b34b2e-f218-432a-85a9-c74d4c486587" providerId="ADAL" clId="{59057E18-F2F2-4D39-8E49-BAFD6E71A60D}" dt="2019-04-15T06:00:22.963" v="696" actId="207"/>
          <ac:spMkLst>
            <pc:docMk/>
            <pc:sldMk cId="2412560468" sldId="440"/>
            <ac:spMk id="14" creationId="{E7842DB0-27CB-43D2-8E58-42B72C35D9C1}"/>
          </ac:spMkLst>
        </pc:spChg>
        <pc:graphicFrameChg chg="mod">
          <ac:chgData name="Kathryn Banke" userId="b0b34b2e-f218-432a-85a9-c74d4c486587" providerId="ADAL" clId="{59057E18-F2F2-4D39-8E49-BAFD6E71A60D}" dt="2019-04-05T18:46:35.616" v="423"/>
          <ac:graphicFrameMkLst>
            <pc:docMk/>
            <pc:sldMk cId="2412560468" sldId="440"/>
            <ac:graphicFrameMk id="10" creationId="{6BD9AEF6-CD75-41E5-8E00-8677A8BED93F}"/>
          </ac:graphicFrameMkLst>
        </pc:graphicFrameChg>
      </pc:sldChg>
      <pc:sldChg chg="modSp">
        <pc:chgData name="Kathryn Banke" userId="b0b34b2e-f218-432a-85a9-c74d4c486587" providerId="ADAL" clId="{59057E18-F2F2-4D39-8E49-BAFD6E71A60D}" dt="2019-04-05T17:59:40.013" v="5" actId="14100"/>
        <pc:sldMkLst>
          <pc:docMk/>
          <pc:sldMk cId="1307511447" sldId="699"/>
        </pc:sldMkLst>
        <pc:spChg chg="mod">
          <ac:chgData name="Kathryn Banke" userId="b0b34b2e-f218-432a-85a9-c74d4c486587" providerId="ADAL" clId="{59057E18-F2F2-4D39-8E49-BAFD6E71A60D}" dt="2019-04-05T17:59:40.013" v="5" actId="14100"/>
          <ac:spMkLst>
            <pc:docMk/>
            <pc:sldMk cId="1307511447" sldId="699"/>
            <ac:spMk id="11" creationId="{91F6B694-B1C8-4BAB-834E-A1ED38D7123B}"/>
          </ac:spMkLst>
        </pc:spChg>
      </pc:sldChg>
      <pc:sldChg chg="add del">
        <pc:chgData name="Kathryn Banke" userId="b0b34b2e-f218-432a-85a9-c74d4c486587" providerId="ADAL" clId="{59057E18-F2F2-4D39-8E49-BAFD6E71A60D}" dt="2019-04-05T18:10:53.115" v="16"/>
        <pc:sldMkLst>
          <pc:docMk/>
          <pc:sldMk cId="143452142" sldId="704"/>
        </pc:sldMkLst>
      </pc:sldChg>
      <pc:sldChg chg="modSp add">
        <pc:chgData name="Kathryn Banke" userId="b0b34b2e-f218-432a-85a9-c74d4c486587" providerId="ADAL" clId="{59057E18-F2F2-4D39-8E49-BAFD6E71A60D}" dt="2019-04-15T06:44:51.086" v="917" actId="113"/>
        <pc:sldMkLst>
          <pc:docMk/>
          <pc:sldMk cId="3655613567" sldId="1184"/>
        </pc:sldMkLst>
        <pc:spChg chg="mod">
          <ac:chgData name="Kathryn Banke" userId="b0b34b2e-f218-432a-85a9-c74d4c486587" providerId="ADAL" clId="{59057E18-F2F2-4D39-8E49-BAFD6E71A60D}" dt="2019-04-15T06:44:51.086" v="917" actId="113"/>
          <ac:spMkLst>
            <pc:docMk/>
            <pc:sldMk cId="3655613567" sldId="1184"/>
            <ac:spMk id="33" creationId="{CBE78637-18B5-456A-8B98-8908412F0932}"/>
          </ac:spMkLst>
        </pc:spChg>
      </pc:sldChg>
      <pc:sldChg chg="delSp modSp add">
        <pc:chgData name="Kathryn Banke" userId="b0b34b2e-f218-432a-85a9-c74d4c486587" providerId="ADAL" clId="{59057E18-F2F2-4D39-8E49-BAFD6E71A60D}" dt="2019-04-05T18:31:43.082" v="183" actId="478"/>
        <pc:sldMkLst>
          <pc:docMk/>
          <pc:sldMk cId="3301368972" sldId="1185"/>
        </pc:sldMkLst>
        <pc:spChg chg="del">
          <ac:chgData name="Kathryn Banke" userId="b0b34b2e-f218-432a-85a9-c74d4c486587" providerId="ADAL" clId="{59057E18-F2F2-4D39-8E49-BAFD6E71A60D}" dt="2019-04-05T18:31:43.082" v="183" actId="478"/>
          <ac:spMkLst>
            <pc:docMk/>
            <pc:sldMk cId="3301368972" sldId="1185"/>
            <ac:spMk id="2" creationId="{28D523FA-98D5-47A1-AB31-CCC9A3D773A3}"/>
          </ac:spMkLst>
        </pc:spChg>
        <pc:spChg chg="del">
          <ac:chgData name="Kathryn Banke" userId="b0b34b2e-f218-432a-85a9-c74d4c486587" providerId="ADAL" clId="{59057E18-F2F2-4D39-8E49-BAFD6E71A60D}" dt="2019-04-05T18:31:35.481" v="182" actId="478"/>
          <ac:spMkLst>
            <pc:docMk/>
            <pc:sldMk cId="3301368972" sldId="1185"/>
            <ac:spMk id="5" creationId="{015280AE-E112-442E-B756-980BF55C56C7}"/>
          </ac:spMkLst>
        </pc:spChg>
        <pc:spChg chg="mod">
          <ac:chgData name="Kathryn Banke" userId="b0b34b2e-f218-432a-85a9-c74d4c486587" providerId="ADAL" clId="{59057E18-F2F2-4D39-8E49-BAFD6E71A60D}" dt="2019-04-05T18:31:31.213" v="181" actId="20577"/>
          <ac:spMkLst>
            <pc:docMk/>
            <pc:sldMk cId="3301368972" sldId="1185"/>
            <ac:spMk id="6" creationId="{1233E107-C519-4532-8418-A4875CBDEC7B}"/>
          </ac:spMkLst>
        </pc:spChg>
      </pc:sldChg>
      <pc:sldChg chg="modSp add del">
        <pc:chgData name="Kathryn Banke" userId="b0b34b2e-f218-432a-85a9-c74d4c486587" providerId="ADAL" clId="{59057E18-F2F2-4D39-8E49-BAFD6E71A60D}" dt="2019-04-05T20:00:42.968" v="664" actId="2696"/>
        <pc:sldMkLst>
          <pc:docMk/>
          <pc:sldMk cId="2371615058" sldId="1186"/>
        </pc:sldMkLst>
        <pc:spChg chg="mod">
          <ac:chgData name="Kathryn Banke" userId="b0b34b2e-f218-432a-85a9-c74d4c486587" providerId="ADAL" clId="{59057E18-F2F2-4D39-8E49-BAFD6E71A60D}" dt="2019-04-05T20:00:38.359" v="663" actId="20577"/>
          <ac:spMkLst>
            <pc:docMk/>
            <pc:sldMk cId="2371615058" sldId="1186"/>
            <ac:spMk id="2" creationId="{DBD83211-0C2E-4A21-8196-0A9CFE2AF733}"/>
          </ac:spMkLst>
        </pc:spChg>
        <pc:spChg chg="mod">
          <ac:chgData name="Kathryn Banke" userId="b0b34b2e-f218-432a-85a9-c74d4c486587" providerId="ADAL" clId="{59057E18-F2F2-4D39-8E49-BAFD6E71A60D}" dt="2019-04-05T18:47:52.661" v="440" actId="20577"/>
          <ac:spMkLst>
            <pc:docMk/>
            <pc:sldMk cId="2371615058" sldId="1186"/>
            <ac:spMk id="5" creationId="{4B73E4E2-5240-4FEA-85FF-193794F25FFB}"/>
          </ac:spMkLst>
        </pc:spChg>
      </pc:sldChg>
    </pc:docChg>
  </pc:docChgLst>
  <pc:docChgLst>
    <pc:chgData name="Kathryn Banke" userId="b0b34b2e-f218-432a-85a9-c74d4c486587" providerId="ADAL" clId="{9BFF3C2E-1C56-4754-AD65-F5CD91670B08}"/>
    <pc:docChg chg="undo modSld">
      <pc:chgData name="Kathryn Banke" userId="b0b34b2e-f218-432a-85a9-c74d4c486587" providerId="ADAL" clId="{9BFF3C2E-1C56-4754-AD65-F5CD91670B08}" dt="2019-04-01T19:19:18.484" v="26" actId="20577"/>
      <pc:docMkLst>
        <pc:docMk/>
      </pc:docMkLst>
      <pc:sldChg chg="modSp">
        <pc:chgData name="Kathryn Banke" userId="b0b34b2e-f218-432a-85a9-c74d4c486587" providerId="ADAL" clId="{9BFF3C2E-1C56-4754-AD65-F5CD91670B08}" dt="2019-04-01T19:19:18.484" v="26" actId="20577"/>
        <pc:sldMkLst>
          <pc:docMk/>
          <pc:sldMk cId="4237685646" sldId="669"/>
        </pc:sldMkLst>
        <pc:spChg chg="mod">
          <ac:chgData name="Kathryn Banke" userId="b0b34b2e-f218-432a-85a9-c74d4c486587" providerId="ADAL" clId="{9BFF3C2E-1C56-4754-AD65-F5CD91670B08}" dt="2019-04-01T19:19:18.484" v="26" actId="20577"/>
          <ac:spMkLst>
            <pc:docMk/>
            <pc:sldMk cId="4237685646" sldId="669"/>
            <ac:spMk id="8" creationId="{8D417861-CA35-4FE7-B2F2-04349076FC12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gbessi\Dropbox\IIP\COMSA\CHAMPS\CUGH\Presentation\graph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599455118307197E-2"/>
          <c:y val="4.6296296296296301E-2"/>
          <c:w val="0.79459760032283699"/>
          <c:h val="0.724257322783178"/>
        </c:manualLayout>
      </c:layout>
      <c:lineChart>
        <c:grouping val="standard"/>
        <c:varyColors val="0"/>
        <c:ser>
          <c:idx val="0"/>
          <c:order val="0"/>
          <c:tx>
            <c:v>Male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4!$B$4:$B$19</c:f>
              <c:strCache>
                <c:ptCount val="16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</c:strCache>
            </c:strRef>
          </c:cat>
          <c:val>
            <c:numRef>
              <c:f>Sheet4!$D$4:$D$19</c:f>
              <c:numCache>
                <c:formatCode>General</c:formatCode>
                <c:ptCount val="16"/>
                <c:pt idx="0">
                  <c:v>15.7</c:v>
                </c:pt>
                <c:pt idx="1">
                  <c:v>16.399999999999999</c:v>
                </c:pt>
                <c:pt idx="2">
                  <c:v>14</c:v>
                </c:pt>
                <c:pt idx="3">
                  <c:v>11</c:v>
                </c:pt>
                <c:pt idx="4">
                  <c:v>8.7000000000000011</c:v>
                </c:pt>
                <c:pt idx="5">
                  <c:v>7.2</c:v>
                </c:pt>
                <c:pt idx="6">
                  <c:v>5.5</c:v>
                </c:pt>
                <c:pt idx="7">
                  <c:v>5.2</c:v>
                </c:pt>
                <c:pt idx="8">
                  <c:v>4.0999999999999996</c:v>
                </c:pt>
                <c:pt idx="9">
                  <c:v>3.4</c:v>
                </c:pt>
                <c:pt idx="10">
                  <c:v>2.6</c:v>
                </c:pt>
                <c:pt idx="11">
                  <c:v>1.9</c:v>
                </c:pt>
                <c:pt idx="12">
                  <c:v>1.5</c:v>
                </c:pt>
                <c:pt idx="13">
                  <c:v>1.1000000000000001</c:v>
                </c:pt>
                <c:pt idx="14">
                  <c:v>0.7</c:v>
                </c:pt>
                <c:pt idx="15">
                  <c:v>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FF-4482-9170-498E931D77A3}"/>
            </c:ext>
          </c:extLst>
        </c:ser>
        <c:ser>
          <c:idx val="1"/>
          <c:order val="1"/>
          <c:tx>
            <c:v>Female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4!$B$4:$B$19</c:f>
              <c:strCache>
                <c:ptCount val="16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</c:strCache>
            </c:strRef>
          </c:cat>
          <c:val>
            <c:numRef>
              <c:f>Sheet4!$F$4:$F$19</c:f>
              <c:numCache>
                <c:formatCode>General</c:formatCode>
                <c:ptCount val="16"/>
                <c:pt idx="0">
                  <c:v>15</c:v>
                </c:pt>
                <c:pt idx="1">
                  <c:v>15.5</c:v>
                </c:pt>
                <c:pt idx="2">
                  <c:v>12.8</c:v>
                </c:pt>
                <c:pt idx="3">
                  <c:v>11.4</c:v>
                </c:pt>
                <c:pt idx="4">
                  <c:v>10</c:v>
                </c:pt>
                <c:pt idx="5">
                  <c:v>7.4</c:v>
                </c:pt>
                <c:pt idx="6">
                  <c:v>5.8</c:v>
                </c:pt>
                <c:pt idx="7">
                  <c:v>5.4</c:v>
                </c:pt>
                <c:pt idx="8">
                  <c:v>4</c:v>
                </c:pt>
                <c:pt idx="9">
                  <c:v>3.3</c:v>
                </c:pt>
                <c:pt idx="10">
                  <c:v>2.6</c:v>
                </c:pt>
                <c:pt idx="11">
                  <c:v>2</c:v>
                </c:pt>
                <c:pt idx="12">
                  <c:v>1.6</c:v>
                </c:pt>
                <c:pt idx="13">
                  <c:v>1.2</c:v>
                </c:pt>
                <c:pt idx="14">
                  <c:v>0.8</c:v>
                </c:pt>
                <c:pt idx="15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FF-4482-9170-498E931D77A3}"/>
            </c:ext>
          </c:extLst>
        </c:ser>
        <c:ser>
          <c:idx val="2"/>
          <c:order val="2"/>
          <c:tx>
            <c:v>All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4!$B$4:$B$19</c:f>
              <c:strCache>
                <c:ptCount val="16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</c:strCache>
            </c:strRef>
          </c:cat>
          <c:val>
            <c:numRef>
              <c:f>Sheet4!$H$4:$H$19</c:f>
              <c:numCache>
                <c:formatCode>General</c:formatCode>
                <c:ptCount val="16"/>
                <c:pt idx="0">
                  <c:v>15.3</c:v>
                </c:pt>
                <c:pt idx="1">
                  <c:v>15.9</c:v>
                </c:pt>
                <c:pt idx="2">
                  <c:v>13.4</c:v>
                </c:pt>
                <c:pt idx="3">
                  <c:v>11.2</c:v>
                </c:pt>
                <c:pt idx="4">
                  <c:v>9.4</c:v>
                </c:pt>
                <c:pt idx="5">
                  <c:v>7.3</c:v>
                </c:pt>
                <c:pt idx="6">
                  <c:v>5.7</c:v>
                </c:pt>
                <c:pt idx="7">
                  <c:v>5.3</c:v>
                </c:pt>
                <c:pt idx="8">
                  <c:v>4</c:v>
                </c:pt>
                <c:pt idx="9">
                  <c:v>3.3</c:v>
                </c:pt>
                <c:pt idx="10">
                  <c:v>2.6</c:v>
                </c:pt>
                <c:pt idx="11">
                  <c:v>1.9</c:v>
                </c:pt>
                <c:pt idx="12">
                  <c:v>1.6</c:v>
                </c:pt>
                <c:pt idx="13">
                  <c:v>1.2</c:v>
                </c:pt>
                <c:pt idx="14">
                  <c:v>0.7</c:v>
                </c:pt>
                <c:pt idx="15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FF-4482-9170-498E931D7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1003032"/>
        <c:axId val="2085517352"/>
      </c:lineChart>
      <c:lineChart>
        <c:grouping val="standard"/>
        <c:varyColors val="0"/>
        <c:ser>
          <c:idx val="3"/>
          <c:order val="3"/>
          <c:tx>
            <c:strRef>
              <c:f>Sheet4!$I$3</c:f>
              <c:strCache>
                <c:ptCount val="1"/>
                <c:pt idx="0">
                  <c:v>Sex ratio</c:v>
                </c:pt>
              </c:strCache>
            </c:strRef>
          </c:tx>
          <c:spPr>
            <a:ln w="28575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75000"/>
                </a:schemeClr>
              </a:solidFill>
              <a:ln w="9525">
                <a:solidFill>
                  <a:schemeClr val="accent5">
                    <a:lumMod val="75000"/>
                  </a:schemeClr>
                </a:solidFill>
              </a:ln>
              <a:effectLst/>
            </c:spPr>
          </c:marker>
          <c:cat>
            <c:strRef>
              <c:f>Sheet4!$B$4:$B$23</c:f>
              <c:strCache>
                <c:ptCount val="20"/>
                <c:pt idx="0">
                  <c:v>0-4</c:v>
                </c:pt>
                <c:pt idx="1">
                  <c:v>5-9</c:v>
                </c:pt>
                <c:pt idx="2">
                  <c:v>10-14</c:v>
                </c:pt>
                <c:pt idx="3">
                  <c:v>15-19</c:v>
                </c:pt>
                <c:pt idx="4">
                  <c:v>20-24</c:v>
                </c:pt>
                <c:pt idx="5">
                  <c:v>25-29</c:v>
                </c:pt>
                <c:pt idx="6">
                  <c:v>30-34</c:v>
                </c:pt>
                <c:pt idx="7">
                  <c:v>35-39</c:v>
                </c:pt>
                <c:pt idx="8">
                  <c:v>40-44</c:v>
                </c:pt>
                <c:pt idx="9">
                  <c:v>45-49</c:v>
                </c:pt>
                <c:pt idx="10">
                  <c:v>50-54</c:v>
                </c:pt>
                <c:pt idx="11">
                  <c:v>55-59</c:v>
                </c:pt>
                <c:pt idx="12">
                  <c:v>60-64</c:v>
                </c:pt>
                <c:pt idx="13">
                  <c:v>65-69</c:v>
                </c:pt>
                <c:pt idx="14">
                  <c:v>70-74</c:v>
                </c:pt>
                <c:pt idx="15">
                  <c:v>75-79</c:v>
                </c:pt>
                <c:pt idx="16">
                  <c:v>80-84</c:v>
                </c:pt>
                <c:pt idx="17">
                  <c:v> 85-89</c:v>
                </c:pt>
                <c:pt idx="18">
                  <c:v>90-94</c:v>
                </c:pt>
                <c:pt idx="19">
                  <c:v>&gt;=95</c:v>
                </c:pt>
              </c:strCache>
            </c:strRef>
          </c:cat>
          <c:val>
            <c:numRef>
              <c:f>Sheet4!$I$4:$I$19</c:f>
              <c:numCache>
                <c:formatCode>General</c:formatCode>
                <c:ptCount val="16"/>
                <c:pt idx="0">
                  <c:v>0.999</c:v>
                </c:pt>
                <c:pt idx="1">
                  <c:v>1.008</c:v>
                </c:pt>
                <c:pt idx="2">
                  <c:v>1.04</c:v>
                </c:pt>
                <c:pt idx="3">
                  <c:v>0.92400000000000004</c:v>
                </c:pt>
                <c:pt idx="4">
                  <c:v>0.83499999999999996</c:v>
                </c:pt>
                <c:pt idx="5">
                  <c:v>0.92100000000000004</c:v>
                </c:pt>
                <c:pt idx="6">
                  <c:v>0.90600000000000003</c:v>
                </c:pt>
                <c:pt idx="7">
                  <c:v>0.91300000000000003</c:v>
                </c:pt>
                <c:pt idx="8">
                  <c:v>0.96</c:v>
                </c:pt>
                <c:pt idx="9">
                  <c:v>0.97199999999999998</c:v>
                </c:pt>
                <c:pt idx="10">
                  <c:v>0.95299999999999996</c:v>
                </c:pt>
                <c:pt idx="11">
                  <c:v>0.92400000000000004</c:v>
                </c:pt>
                <c:pt idx="12">
                  <c:v>0.90500000000000003</c:v>
                </c:pt>
                <c:pt idx="13">
                  <c:v>0.871</c:v>
                </c:pt>
                <c:pt idx="14">
                  <c:v>0.88900000000000001</c:v>
                </c:pt>
                <c:pt idx="15">
                  <c:v>0.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FF-4482-9170-498E931D77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1013320"/>
        <c:axId val="2110472296"/>
      </c:lineChart>
      <c:catAx>
        <c:axId val="211100303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Age group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85517352"/>
        <c:crosses val="autoZero"/>
        <c:auto val="1"/>
        <c:lblAlgn val="ctr"/>
        <c:lblOffset val="100"/>
        <c:noMultiLvlLbl val="0"/>
      </c:catAx>
      <c:valAx>
        <c:axId val="20855173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>
                    <a:solidFill>
                      <a:schemeClr val="tx1"/>
                    </a:solidFill>
                  </a:rPr>
                  <a:t>Percentag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1003032"/>
        <c:crosses val="autoZero"/>
        <c:crossBetween val="between"/>
      </c:valAx>
      <c:valAx>
        <c:axId val="2110472296"/>
        <c:scaling>
          <c:orientation val="minMax"/>
          <c:max val="1.2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Sex Ratio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FFC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11013320"/>
        <c:crosses val="max"/>
        <c:crossBetween val="between"/>
      </c:valAx>
      <c:catAx>
        <c:axId val="21110133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1104722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132525988924299"/>
          <c:y val="0.90817535785042602"/>
          <c:w val="0.59734929076334597"/>
          <c:h val="8.15401720618255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accent4">
          <a:lumMod val="75000"/>
        </a:schemeClr>
      </a:solidFill>
    </a:ln>
    <a:effectLst/>
  </c:spPr>
  <c:txPr>
    <a:bodyPr/>
    <a:lstStyle/>
    <a:p>
      <a:pPr>
        <a:defRPr sz="1050">
          <a:solidFill>
            <a:schemeClr val="bg2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4099569386120112E-2"/>
          <c:y val="2.4434644220998211E-2"/>
          <c:w val="0.90847278155508526"/>
          <c:h val="0.8235610255239419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op!$B$2:$B$12</c:f>
              <c:strCache>
                <c:ptCount val="11"/>
                <c:pt idx="0">
                  <c:v>Zambezia</c:v>
                </c:pt>
                <c:pt idx="1">
                  <c:v>Tete</c:v>
                </c:pt>
                <c:pt idx="2">
                  <c:v>Cabo Delgado</c:v>
                </c:pt>
                <c:pt idx="3">
                  <c:v>Nampula</c:v>
                </c:pt>
                <c:pt idx="4">
                  <c:v>Sofala</c:v>
                </c:pt>
                <c:pt idx="5">
                  <c:v>Manica</c:v>
                </c:pt>
                <c:pt idx="6">
                  <c:v>Inhambane</c:v>
                </c:pt>
                <c:pt idx="7">
                  <c:v>Niassa</c:v>
                </c:pt>
                <c:pt idx="8">
                  <c:v>Gaza</c:v>
                </c:pt>
                <c:pt idx="9">
                  <c:v>Maputo Provincia</c:v>
                </c:pt>
                <c:pt idx="10">
                  <c:v>Maputo Cidade</c:v>
                </c:pt>
              </c:strCache>
            </c:strRef>
          </c:cat>
          <c:val>
            <c:numRef>
              <c:f>Pop!$C$2:$C$12</c:f>
              <c:numCache>
                <c:formatCode>#,##0</c:formatCode>
                <c:ptCount val="11"/>
                <c:pt idx="0">
                  <c:v>124642</c:v>
                </c:pt>
                <c:pt idx="1">
                  <c:v>75098</c:v>
                </c:pt>
                <c:pt idx="2">
                  <c:v>104256</c:v>
                </c:pt>
                <c:pt idx="3">
                  <c:v>76643</c:v>
                </c:pt>
                <c:pt idx="4">
                  <c:v>41278</c:v>
                </c:pt>
                <c:pt idx="5">
                  <c:v>84369</c:v>
                </c:pt>
                <c:pt idx="6">
                  <c:v>55067</c:v>
                </c:pt>
                <c:pt idx="7">
                  <c:v>35946</c:v>
                </c:pt>
                <c:pt idx="8">
                  <c:v>41659</c:v>
                </c:pt>
                <c:pt idx="9">
                  <c:v>45160</c:v>
                </c:pt>
                <c:pt idx="10">
                  <c:v>42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FE-4024-8F76-06586A1A97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79694336"/>
        <c:axId val="2015398112"/>
      </c:barChart>
      <c:catAx>
        <c:axId val="1979694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5398112"/>
        <c:crosses val="autoZero"/>
        <c:auto val="1"/>
        <c:lblAlgn val="ctr"/>
        <c:lblOffset val="100"/>
        <c:noMultiLvlLbl val="0"/>
      </c:catAx>
      <c:valAx>
        <c:axId val="2015398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694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Birth!$B$2:$B$12</c:f>
              <c:strCache>
                <c:ptCount val="11"/>
                <c:pt idx="0">
                  <c:v>Zambezia</c:v>
                </c:pt>
                <c:pt idx="1">
                  <c:v>Tete</c:v>
                </c:pt>
                <c:pt idx="2">
                  <c:v>Cabo Delgado</c:v>
                </c:pt>
                <c:pt idx="3">
                  <c:v>Nampula</c:v>
                </c:pt>
                <c:pt idx="4">
                  <c:v>Sofala</c:v>
                </c:pt>
                <c:pt idx="5">
                  <c:v>Manica</c:v>
                </c:pt>
                <c:pt idx="6">
                  <c:v>Inhambane</c:v>
                </c:pt>
                <c:pt idx="7">
                  <c:v>Niassa</c:v>
                </c:pt>
                <c:pt idx="8">
                  <c:v>Gaza</c:v>
                </c:pt>
                <c:pt idx="9">
                  <c:v>Maputo Provincia</c:v>
                </c:pt>
                <c:pt idx="10">
                  <c:v>Maputo Cidade</c:v>
                </c:pt>
              </c:strCache>
            </c:strRef>
          </c:cat>
          <c:val>
            <c:numRef>
              <c:f>Birth!$C$2:$C$12</c:f>
              <c:numCache>
                <c:formatCode>General</c:formatCode>
                <c:ptCount val="11"/>
                <c:pt idx="0">
                  <c:v>1216</c:v>
                </c:pt>
                <c:pt idx="1">
                  <c:v>1648</c:v>
                </c:pt>
                <c:pt idx="2">
                  <c:v>1371</c:v>
                </c:pt>
                <c:pt idx="3">
                  <c:v>460</c:v>
                </c:pt>
                <c:pt idx="4">
                  <c:v>625</c:v>
                </c:pt>
                <c:pt idx="5">
                  <c:v>491</c:v>
                </c:pt>
                <c:pt idx="6">
                  <c:v>270</c:v>
                </c:pt>
                <c:pt idx="7">
                  <c:v>200</c:v>
                </c:pt>
                <c:pt idx="8">
                  <c:v>181</c:v>
                </c:pt>
                <c:pt idx="9">
                  <c:v>187</c:v>
                </c:pt>
                <c:pt idx="10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89-4D23-BB0C-B05C5C4A3C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79721536"/>
        <c:axId val="1933803856"/>
      </c:barChart>
      <c:catAx>
        <c:axId val="1979721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3803856"/>
        <c:crosses val="autoZero"/>
        <c:auto val="1"/>
        <c:lblAlgn val="ctr"/>
        <c:lblOffset val="100"/>
        <c:noMultiLvlLbl val="0"/>
      </c:catAx>
      <c:valAx>
        <c:axId val="1933803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solidFill>
            <a:schemeClr val="bg1"/>
          </a:solidFill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721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Birth place'!$B$31</c:f>
              <c:strCache>
                <c:ptCount val="1"/>
                <c:pt idx="0">
                  <c:v>Health facility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A3B9-4E22-970E-7503C63A13E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irth place'!$A$32:$A$43</c:f>
              <c:strCache>
                <c:ptCount val="12"/>
                <c:pt idx="0">
                  <c:v>Zambezia (n=1340)</c:v>
                </c:pt>
                <c:pt idx="1">
                  <c:v>Tete (n=1638)</c:v>
                </c:pt>
                <c:pt idx="2">
                  <c:v>Cabo Delgado (n=1408)</c:v>
                </c:pt>
                <c:pt idx="3">
                  <c:v>Nampula (n=485)</c:v>
                </c:pt>
                <c:pt idx="4">
                  <c:v>Sofala (n=619)</c:v>
                </c:pt>
                <c:pt idx="5">
                  <c:v>Manica (n=490)</c:v>
                </c:pt>
                <c:pt idx="6">
                  <c:v>Inhambane (n=266)</c:v>
                </c:pt>
                <c:pt idx="7">
                  <c:v>Niassa (n=197)</c:v>
                </c:pt>
                <c:pt idx="8">
                  <c:v>Gaza (n=184)</c:v>
                </c:pt>
                <c:pt idx="9">
                  <c:v>Maputo Provincia (n=197)</c:v>
                </c:pt>
                <c:pt idx="10">
                  <c:v>Maputo Cidade (n=111)</c:v>
                </c:pt>
                <c:pt idx="11">
                  <c:v>Total (n=6935)</c:v>
                </c:pt>
              </c:strCache>
            </c:strRef>
          </c:cat>
          <c:val>
            <c:numRef>
              <c:f>'Birth place'!$B$32:$B$43</c:f>
              <c:numCache>
                <c:formatCode>0</c:formatCode>
                <c:ptCount val="12"/>
                <c:pt idx="0">
                  <c:v>40.200000000000003</c:v>
                </c:pt>
                <c:pt idx="1">
                  <c:v>60.6</c:v>
                </c:pt>
                <c:pt idx="2">
                  <c:v>49.3</c:v>
                </c:pt>
                <c:pt idx="3">
                  <c:v>47</c:v>
                </c:pt>
                <c:pt idx="4">
                  <c:v>69.099999999999994</c:v>
                </c:pt>
                <c:pt idx="5">
                  <c:v>67.099999999999994</c:v>
                </c:pt>
                <c:pt idx="6">
                  <c:v>79.3</c:v>
                </c:pt>
                <c:pt idx="7">
                  <c:v>70.099999999999994</c:v>
                </c:pt>
                <c:pt idx="8">
                  <c:v>87</c:v>
                </c:pt>
                <c:pt idx="9">
                  <c:v>90.4</c:v>
                </c:pt>
                <c:pt idx="10">
                  <c:v>91.9</c:v>
                </c:pt>
                <c:pt idx="11">
                  <c:v>5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E9-4CCD-9E27-01D3D6C401EC}"/>
            </c:ext>
          </c:extLst>
        </c:ser>
        <c:ser>
          <c:idx val="1"/>
          <c:order val="1"/>
          <c:tx>
            <c:strRef>
              <c:f>'Birth place'!$C$31</c:f>
              <c:strCache>
                <c:ptCount val="1"/>
                <c:pt idx="0">
                  <c:v>Non Health facilit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3B9-4E22-970E-7503C63A13E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Birth place'!$A$32:$A$43</c:f>
              <c:strCache>
                <c:ptCount val="12"/>
                <c:pt idx="0">
                  <c:v>Zambezia (n=1340)</c:v>
                </c:pt>
                <c:pt idx="1">
                  <c:v>Tete (n=1638)</c:v>
                </c:pt>
                <c:pt idx="2">
                  <c:v>Cabo Delgado (n=1408)</c:v>
                </c:pt>
                <c:pt idx="3">
                  <c:v>Nampula (n=485)</c:v>
                </c:pt>
                <c:pt idx="4">
                  <c:v>Sofala (n=619)</c:v>
                </c:pt>
                <c:pt idx="5">
                  <c:v>Manica (n=490)</c:v>
                </c:pt>
                <c:pt idx="6">
                  <c:v>Inhambane (n=266)</c:v>
                </c:pt>
                <c:pt idx="7">
                  <c:v>Niassa (n=197)</c:v>
                </c:pt>
                <c:pt idx="8">
                  <c:v>Gaza (n=184)</c:v>
                </c:pt>
                <c:pt idx="9">
                  <c:v>Maputo Provincia (n=197)</c:v>
                </c:pt>
                <c:pt idx="10">
                  <c:v>Maputo Cidade (n=111)</c:v>
                </c:pt>
                <c:pt idx="11">
                  <c:v>Total (n=6935)</c:v>
                </c:pt>
              </c:strCache>
            </c:strRef>
          </c:cat>
          <c:val>
            <c:numRef>
              <c:f>'Birth place'!$C$32:$C$43</c:f>
              <c:numCache>
                <c:formatCode>0</c:formatCode>
                <c:ptCount val="12"/>
                <c:pt idx="0">
                  <c:v>59.8</c:v>
                </c:pt>
                <c:pt idx="1">
                  <c:v>39.4</c:v>
                </c:pt>
                <c:pt idx="2">
                  <c:v>50.7</c:v>
                </c:pt>
                <c:pt idx="3">
                  <c:v>53</c:v>
                </c:pt>
                <c:pt idx="4">
                  <c:v>30.9</c:v>
                </c:pt>
                <c:pt idx="5">
                  <c:v>32.9</c:v>
                </c:pt>
                <c:pt idx="6">
                  <c:v>20.7</c:v>
                </c:pt>
                <c:pt idx="7">
                  <c:v>29.9</c:v>
                </c:pt>
                <c:pt idx="8">
                  <c:v>13</c:v>
                </c:pt>
                <c:pt idx="9">
                  <c:v>9.6</c:v>
                </c:pt>
                <c:pt idx="10">
                  <c:v>8.1</c:v>
                </c:pt>
                <c:pt idx="11">
                  <c:v>4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E9-4CCD-9E27-01D3D6C401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79691936"/>
        <c:axId val="1933791792"/>
      </c:barChart>
      <c:catAx>
        <c:axId val="1979691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3791792"/>
        <c:crosses val="autoZero"/>
        <c:auto val="1"/>
        <c:lblAlgn val="ctr"/>
        <c:lblOffset val="100"/>
        <c:noMultiLvlLbl val="0"/>
      </c:catAx>
      <c:valAx>
        <c:axId val="1933791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69193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935866335720797E-2"/>
          <c:y val="4.8827951710309202E-2"/>
          <c:w val="0.917849988108"/>
          <c:h val="0.621927869321621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eath with stillbirth'!$B$2</c:f>
              <c:strCache>
                <c:ptCount val="1"/>
                <c:pt idx="0">
                  <c:v>Stillbirth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death with stillbirth'!$A$3:$A$13</c:f>
              <c:strCache>
                <c:ptCount val="11"/>
                <c:pt idx="0">
                  <c:v>Zambezia</c:v>
                </c:pt>
                <c:pt idx="1">
                  <c:v>Cabo Delgado</c:v>
                </c:pt>
                <c:pt idx="2">
                  <c:v>Tete</c:v>
                </c:pt>
                <c:pt idx="3">
                  <c:v>Nampula</c:v>
                </c:pt>
                <c:pt idx="4">
                  <c:v>Sofala</c:v>
                </c:pt>
                <c:pt idx="5">
                  <c:v>Niassa</c:v>
                </c:pt>
                <c:pt idx="6">
                  <c:v>Manica</c:v>
                </c:pt>
                <c:pt idx="7">
                  <c:v>Inhambane</c:v>
                </c:pt>
                <c:pt idx="8">
                  <c:v>Gaza</c:v>
                </c:pt>
                <c:pt idx="9">
                  <c:v>Maputo Provincia</c:v>
                </c:pt>
                <c:pt idx="10">
                  <c:v>Maputo Cidade</c:v>
                </c:pt>
              </c:strCache>
            </c:strRef>
          </c:cat>
          <c:val>
            <c:numRef>
              <c:f>'death with stillbirth'!$B$3:$B$13</c:f>
              <c:numCache>
                <c:formatCode>General</c:formatCode>
                <c:ptCount val="11"/>
                <c:pt idx="0">
                  <c:v>97</c:v>
                </c:pt>
                <c:pt idx="1">
                  <c:v>73</c:v>
                </c:pt>
                <c:pt idx="2">
                  <c:v>118</c:v>
                </c:pt>
                <c:pt idx="3">
                  <c:v>51</c:v>
                </c:pt>
                <c:pt idx="4">
                  <c:v>40</c:v>
                </c:pt>
                <c:pt idx="5">
                  <c:v>17</c:v>
                </c:pt>
                <c:pt idx="6">
                  <c:v>14</c:v>
                </c:pt>
                <c:pt idx="7">
                  <c:v>11</c:v>
                </c:pt>
                <c:pt idx="8">
                  <c:v>7</c:v>
                </c:pt>
                <c:pt idx="9">
                  <c:v>5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37-4055-A345-134CBCE56193}"/>
            </c:ext>
          </c:extLst>
        </c:ser>
        <c:ser>
          <c:idx val="1"/>
          <c:order val="1"/>
          <c:tx>
            <c:strRef>
              <c:f>'death with stillbirth'!$C$2</c:f>
              <c:strCache>
                <c:ptCount val="1"/>
                <c:pt idx="0">
                  <c:v>0-4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death with stillbirth'!$A$3:$A$13</c:f>
              <c:strCache>
                <c:ptCount val="11"/>
                <c:pt idx="0">
                  <c:v>Zambezia</c:v>
                </c:pt>
                <c:pt idx="1">
                  <c:v>Cabo Delgado</c:v>
                </c:pt>
                <c:pt idx="2">
                  <c:v>Tete</c:v>
                </c:pt>
                <c:pt idx="3">
                  <c:v>Nampula</c:v>
                </c:pt>
                <c:pt idx="4">
                  <c:v>Sofala</c:v>
                </c:pt>
                <c:pt idx="5">
                  <c:v>Niassa</c:v>
                </c:pt>
                <c:pt idx="6">
                  <c:v>Manica</c:v>
                </c:pt>
                <c:pt idx="7">
                  <c:v>Inhambane</c:v>
                </c:pt>
                <c:pt idx="8">
                  <c:v>Gaza</c:v>
                </c:pt>
                <c:pt idx="9">
                  <c:v>Maputo Provincia</c:v>
                </c:pt>
                <c:pt idx="10">
                  <c:v>Maputo Cidade</c:v>
                </c:pt>
              </c:strCache>
            </c:strRef>
          </c:cat>
          <c:val>
            <c:numRef>
              <c:f>'death with stillbirth'!$C$3:$C$13</c:f>
              <c:numCache>
                <c:formatCode>General</c:formatCode>
                <c:ptCount val="11"/>
                <c:pt idx="0">
                  <c:v>234</c:v>
                </c:pt>
                <c:pt idx="1">
                  <c:v>179</c:v>
                </c:pt>
                <c:pt idx="2">
                  <c:v>199</c:v>
                </c:pt>
                <c:pt idx="3">
                  <c:v>64</c:v>
                </c:pt>
                <c:pt idx="4">
                  <c:v>46</c:v>
                </c:pt>
                <c:pt idx="5">
                  <c:v>23</c:v>
                </c:pt>
                <c:pt idx="6">
                  <c:v>24</c:v>
                </c:pt>
                <c:pt idx="7">
                  <c:v>19</c:v>
                </c:pt>
                <c:pt idx="8">
                  <c:v>15</c:v>
                </c:pt>
                <c:pt idx="9">
                  <c:v>11</c:v>
                </c:pt>
                <c:pt idx="1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137-4055-A345-134CBCE56193}"/>
            </c:ext>
          </c:extLst>
        </c:ser>
        <c:ser>
          <c:idx val="2"/>
          <c:order val="2"/>
          <c:tx>
            <c:strRef>
              <c:f>'death with stillbirth'!$D$2</c:f>
              <c:strCache>
                <c:ptCount val="1"/>
                <c:pt idx="0">
                  <c:v>5-11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death with stillbirth'!$A$3:$A$13</c:f>
              <c:strCache>
                <c:ptCount val="11"/>
                <c:pt idx="0">
                  <c:v>Zambezia</c:v>
                </c:pt>
                <c:pt idx="1">
                  <c:v>Cabo Delgado</c:v>
                </c:pt>
                <c:pt idx="2">
                  <c:v>Tete</c:v>
                </c:pt>
                <c:pt idx="3">
                  <c:v>Nampula</c:v>
                </c:pt>
                <c:pt idx="4">
                  <c:v>Sofala</c:v>
                </c:pt>
                <c:pt idx="5">
                  <c:v>Niassa</c:v>
                </c:pt>
                <c:pt idx="6">
                  <c:v>Manica</c:v>
                </c:pt>
                <c:pt idx="7">
                  <c:v>Inhambane</c:v>
                </c:pt>
                <c:pt idx="8">
                  <c:v>Gaza</c:v>
                </c:pt>
                <c:pt idx="9">
                  <c:v>Maputo Provincia</c:v>
                </c:pt>
                <c:pt idx="10">
                  <c:v>Maputo Cidade</c:v>
                </c:pt>
              </c:strCache>
            </c:strRef>
          </c:cat>
          <c:val>
            <c:numRef>
              <c:f>'death with stillbirth'!$D$3:$D$13</c:f>
              <c:numCache>
                <c:formatCode>General</c:formatCode>
                <c:ptCount val="11"/>
                <c:pt idx="0">
                  <c:v>36</c:v>
                </c:pt>
                <c:pt idx="1">
                  <c:v>29</c:v>
                </c:pt>
                <c:pt idx="2">
                  <c:v>20</c:v>
                </c:pt>
                <c:pt idx="3">
                  <c:v>9</c:v>
                </c:pt>
                <c:pt idx="4">
                  <c:v>7</c:v>
                </c:pt>
                <c:pt idx="5">
                  <c:v>2</c:v>
                </c:pt>
                <c:pt idx="6">
                  <c:v>4</c:v>
                </c:pt>
                <c:pt idx="7">
                  <c:v>6</c:v>
                </c:pt>
                <c:pt idx="8">
                  <c:v>2</c:v>
                </c:pt>
                <c:pt idx="9">
                  <c:v>0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137-4055-A345-134CBCE56193}"/>
            </c:ext>
          </c:extLst>
        </c:ser>
        <c:ser>
          <c:idx val="3"/>
          <c:order val="3"/>
          <c:tx>
            <c:strRef>
              <c:f>'death with stillbirth'!$E$2</c:f>
              <c:strCache>
                <c:ptCount val="1"/>
                <c:pt idx="0">
                  <c:v>12+Y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death with stillbirth'!$A$3:$A$13</c:f>
              <c:strCache>
                <c:ptCount val="11"/>
                <c:pt idx="0">
                  <c:v>Zambezia</c:v>
                </c:pt>
                <c:pt idx="1">
                  <c:v>Cabo Delgado</c:v>
                </c:pt>
                <c:pt idx="2">
                  <c:v>Tete</c:v>
                </c:pt>
                <c:pt idx="3">
                  <c:v>Nampula</c:v>
                </c:pt>
                <c:pt idx="4">
                  <c:v>Sofala</c:v>
                </c:pt>
                <c:pt idx="5">
                  <c:v>Niassa</c:v>
                </c:pt>
                <c:pt idx="6">
                  <c:v>Manica</c:v>
                </c:pt>
                <c:pt idx="7">
                  <c:v>Inhambane</c:v>
                </c:pt>
                <c:pt idx="8">
                  <c:v>Gaza</c:v>
                </c:pt>
                <c:pt idx="9">
                  <c:v>Maputo Provincia</c:v>
                </c:pt>
                <c:pt idx="10">
                  <c:v>Maputo Cidade</c:v>
                </c:pt>
              </c:strCache>
            </c:strRef>
          </c:cat>
          <c:val>
            <c:numRef>
              <c:f>'death with stillbirth'!$E$3:$E$13</c:f>
              <c:numCache>
                <c:formatCode>General</c:formatCode>
                <c:ptCount val="11"/>
                <c:pt idx="0">
                  <c:v>447</c:v>
                </c:pt>
                <c:pt idx="1">
                  <c:v>327</c:v>
                </c:pt>
                <c:pt idx="2">
                  <c:v>223</c:v>
                </c:pt>
                <c:pt idx="3">
                  <c:v>81</c:v>
                </c:pt>
                <c:pt idx="4">
                  <c:v>65</c:v>
                </c:pt>
                <c:pt idx="5">
                  <c:v>31</c:v>
                </c:pt>
                <c:pt idx="6">
                  <c:v>57</c:v>
                </c:pt>
                <c:pt idx="7">
                  <c:v>107</c:v>
                </c:pt>
                <c:pt idx="8">
                  <c:v>71</c:v>
                </c:pt>
                <c:pt idx="9">
                  <c:v>40</c:v>
                </c:pt>
                <c:pt idx="10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F4-434B-BF90-292252F361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33477624"/>
        <c:axId val="2133481368"/>
      </c:barChart>
      <c:catAx>
        <c:axId val="2133477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3481368"/>
        <c:crosses val="autoZero"/>
        <c:auto val="1"/>
        <c:lblAlgn val="ctr"/>
        <c:lblOffset val="100"/>
        <c:noMultiLvlLbl val="0"/>
      </c:catAx>
      <c:valAx>
        <c:axId val="2133481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34776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2111868832591095"/>
          <c:y val="0.86750382993322017"/>
          <c:w val="0.38060862625494007"/>
          <c:h val="9.86922034981042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Death place'!$B$31</c:f>
              <c:strCache>
                <c:ptCount val="1"/>
                <c:pt idx="0">
                  <c:v>Health facility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B02-42E9-9CD8-813BE9AE9F1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eath place'!$A$32:$A$43</c:f>
              <c:strCache>
                <c:ptCount val="12"/>
                <c:pt idx="0">
                  <c:v>Zambezia (n=722)</c:v>
                </c:pt>
                <c:pt idx="1">
                  <c:v>Tete (459)</c:v>
                </c:pt>
                <c:pt idx="2">
                  <c:v>Cabo Delgado (n=546)</c:v>
                </c:pt>
                <c:pt idx="3">
                  <c:v>Nampula (n=154)</c:v>
                </c:pt>
                <c:pt idx="4">
                  <c:v>Sofala (n=121)</c:v>
                </c:pt>
                <c:pt idx="5">
                  <c:v>Manica (n=95)</c:v>
                </c:pt>
                <c:pt idx="6">
                  <c:v>Inhambane (n=135)</c:v>
                </c:pt>
                <c:pt idx="7">
                  <c:v>Niassa (n=56)</c:v>
                </c:pt>
                <c:pt idx="8">
                  <c:v>Gaza (n=89)</c:v>
                </c:pt>
                <c:pt idx="9">
                  <c:v>Maputo Provincia (n=55)</c:v>
                </c:pt>
                <c:pt idx="10">
                  <c:v>Maputo Cidade (n=42)</c:v>
                </c:pt>
                <c:pt idx="11">
                  <c:v>Total (n=2474)</c:v>
                </c:pt>
              </c:strCache>
            </c:strRef>
          </c:cat>
          <c:val>
            <c:numRef>
              <c:f>'Death place'!$B$32:$B$43</c:f>
              <c:numCache>
                <c:formatCode>0</c:formatCode>
                <c:ptCount val="12"/>
                <c:pt idx="0">
                  <c:v>17</c:v>
                </c:pt>
                <c:pt idx="1">
                  <c:v>23.1</c:v>
                </c:pt>
                <c:pt idx="2">
                  <c:v>19.399999999999999</c:v>
                </c:pt>
                <c:pt idx="3">
                  <c:v>16.899999999999999</c:v>
                </c:pt>
                <c:pt idx="4">
                  <c:v>33.9</c:v>
                </c:pt>
                <c:pt idx="5">
                  <c:v>32.6</c:v>
                </c:pt>
                <c:pt idx="6">
                  <c:v>26.7</c:v>
                </c:pt>
                <c:pt idx="7">
                  <c:v>33.9</c:v>
                </c:pt>
                <c:pt idx="8">
                  <c:v>29.2</c:v>
                </c:pt>
                <c:pt idx="9">
                  <c:v>56.4</c:v>
                </c:pt>
                <c:pt idx="10">
                  <c:v>47.6</c:v>
                </c:pt>
                <c:pt idx="11">
                  <c:v>2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C8-4308-8FCD-7BAC7D7C8E02}"/>
            </c:ext>
          </c:extLst>
        </c:ser>
        <c:ser>
          <c:idx val="1"/>
          <c:order val="1"/>
          <c:tx>
            <c:strRef>
              <c:f>'Death place'!$C$31</c:f>
              <c:strCache>
                <c:ptCount val="1"/>
                <c:pt idx="0">
                  <c:v>Non Health facility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11"/>
            <c:invertIfNegative val="0"/>
            <c:bubble3D val="0"/>
            <c:spPr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B02-42E9-9CD8-813BE9AE9F1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eath place'!$A$32:$A$43</c:f>
              <c:strCache>
                <c:ptCount val="12"/>
                <c:pt idx="0">
                  <c:v>Zambezia (n=722)</c:v>
                </c:pt>
                <c:pt idx="1">
                  <c:v>Tete (459)</c:v>
                </c:pt>
                <c:pt idx="2">
                  <c:v>Cabo Delgado (n=546)</c:v>
                </c:pt>
                <c:pt idx="3">
                  <c:v>Nampula (n=154)</c:v>
                </c:pt>
                <c:pt idx="4">
                  <c:v>Sofala (n=121)</c:v>
                </c:pt>
                <c:pt idx="5">
                  <c:v>Manica (n=95)</c:v>
                </c:pt>
                <c:pt idx="6">
                  <c:v>Inhambane (n=135)</c:v>
                </c:pt>
                <c:pt idx="7">
                  <c:v>Niassa (n=56)</c:v>
                </c:pt>
                <c:pt idx="8">
                  <c:v>Gaza (n=89)</c:v>
                </c:pt>
                <c:pt idx="9">
                  <c:v>Maputo Provincia (n=55)</c:v>
                </c:pt>
                <c:pt idx="10">
                  <c:v>Maputo Cidade (n=42)</c:v>
                </c:pt>
                <c:pt idx="11">
                  <c:v>Total (n=2474)</c:v>
                </c:pt>
              </c:strCache>
            </c:strRef>
          </c:cat>
          <c:val>
            <c:numRef>
              <c:f>'Death place'!$C$32:$C$43</c:f>
              <c:numCache>
                <c:formatCode>0</c:formatCode>
                <c:ptCount val="12"/>
                <c:pt idx="0">
                  <c:v>83</c:v>
                </c:pt>
                <c:pt idx="1">
                  <c:v>76.900000000000006</c:v>
                </c:pt>
                <c:pt idx="2">
                  <c:v>80.599999999999994</c:v>
                </c:pt>
                <c:pt idx="3">
                  <c:v>83.1</c:v>
                </c:pt>
                <c:pt idx="4">
                  <c:v>66.099999999999994</c:v>
                </c:pt>
                <c:pt idx="5">
                  <c:v>67.400000000000006</c:v>
                </c:pt>
                <c:pt idx="6">
                  <c:v>73.3</c:v>
                </c:pt>
                <c:pt idx="7">
                  <c:v>66.099999999999994</c:v>
                </c:pt>
                <c:pt idx="8">
                  <c:v>70.8</c:v>
                </c:pt>
                <c:pt idx="9">
                  <c:v>43.6</c:v>
                </c:pt>
                <c:pt idx="10">
                  <c:v>52.4</c:v>
                </c:pt>
                <c:pt idx="11">
                  <c:v>77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C8-4308-8FCD-7BAC7D7C8E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79715536"/>
        <c:axId val="2017600960"/>
      </c:barChart>
      <c:catAx>
        <c:axId val="1979715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7600960"/>
        <c:crosses val="autoZero"/>
        <c:auto val="1"/>
        <c:lblAlgn val="ctr"/>
        <c:lblOffset val="100"/>
        <c:noMultiLvlLbl val="0"/>
      </c:catAx>
      <c:valAx>
        <c:axId val="2017600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7971553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use</c:v>
                </c:pt>
              </c:strCache>
            </c:strRef>
          </c:tx>
          <c:spPr>
            <a:solidFill>
              <a:srgbClr val="9B242D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6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neumonia</c:v>
                </c:pt>
                <c:pt idx="1">
                  <c:v>Malaria</c:v>
                </c:pt>
                <c:pt idx="2">
                  <c:v>Diarrhea</c:v>
                </c:pt>
                <c:pt idx="3">
                  <c:v>Malnutrition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7</c:v>
                </c:pt>
                <c:pt idx="1">
                  <c:v>0.17</c:v>
                </c:pt>
                <c:pt idx="2">
                  <c:v>0.16</c:v>
                </c:pt>
                <c:pt idx="3">
                  <c:v>0</c:v>
                </c:pt>
                <c:pt idx="4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9A-48B9-B5CE-400B81B844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68"/>
        <c:axId val="443810616"/>
        <c:axId val="443808648"/>
      </c:barChart>
      <c:catAx>
        <c:axId val="44381061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accent6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en-US"/>
                  <a:t>Cause</a:t>
                </a:r>
              </a:p>
            </c:rich>
          </c:tx>
          <c:layout>
            <c:manualLayout>
              <c:xMode val="edge"/>
              <c:yMode val="edge"/>
              <c:x val="0.42201874192750549"/>
              <c:y val="0.797277820229747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accent6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accent6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443808648"/>
        <c:crossesAt val="0"/>
        <c:auto val="1"/>
        <c:lblAlgn val="ctr"/>
        <c:lblOffset val="100"/>
        <c:noMultiLvlLbl val="0"/>
      </c:catAx>
      <c:valAx>
        <c:axId val="443808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accent6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en-US"/>
                  <a:t>% of deaths</a:t>
                </a:r>
              </a:p>
            </c:rich>
          </c:tx>
          <c:layout>
            <c:manualLayout>
              <c:xMode val="edge"/>
              <c:yMode val="edge"/>
              <c:x val="5.7162006619663155E-2"/>
              <c:y val="4.860302655256054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accent6"/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accent6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en-US"/>
          </a:p>
        </c:txPr>
        <c:crossAx val="443810616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accent6"/>
          </a:solidFill>
          <a:latin typeface="Arial Narrow" panose="020B0606020202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693" y="0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r">
              <a:defRPr sz="1200"/>
            </a:lvl1pPr>
          </a:lstStyle>
          <a:p>
            <a:fld id="{EF909FD9-F8D0-4B9E-A0F9-7CE0EB15AC02}" type="datetimeFigureOut">
              <a:rPr lang="en-US" smtClean="0"/>
              <a:t>4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60463"/>
            <a:ext cx="5568950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83" tIns="45542" rIns="91083" bIns="4554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7869" y="4467701"/>
            <a:ext cx="5589263" cy="3655537"/>
          </a:xfrm>
          <a:prstGeom prst="rect">
            <a:avLst/>
          </a:prstGeom>
        </p:spPr>
        <p:txBody>
          <a:bodyPr vert="horz" lIns="91083" tIns="45542" rIns="91083" bIns="4554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8249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693" y="8818249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r">
              <a:defRPr sz="1200"/>
            </a:lvl1pPr>
          </a:lstStyle>
          <a:p>
            <a:fld id="{7658F3D2-CFF1-45D2-8A0A-8BACB4055A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449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/>
            <a:r>
              <a:rPr lang="en-US" sz="9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Laser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ocus on child mortality</a:t>
            </a:r>
          </a:p>
          <a:p>
            <a:pPr rtl="0" fontAlgn="ctr"/>
            <a:r>
              <a:rPr lang="en-US" sz="90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entral component: CHAMPS – first of its kind histopathology based determination of child mortality</a:t>
            </a:r>
            <a:endParaRPr lang="en-US" sz="9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36544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5641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2394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3DF357-955B-43AA-8EE0-25D62F324A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72876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8861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144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54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56071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265364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420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D844C-42E5-4EF0-A192-BB8FFABA4B59}" type="datetime1">
              <a:rPr lang="en-US" smtClean="0"/>
              <a:t>4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5EC09-A814-4DB8-96F7-E242FDF392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456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userDrawn="1">
  <p:cSld name="Title and two columns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Google Shape;29;p5"/>
          <p:cNvCxnSpPr>
            <a:cxnSpLocks/>
          </p:cNvCxnSpPr>
          <p:nvPr/>
        </p:nvCxnSpPr>
        <p:spPr>
          <a:xfrm>
            <a:off x="535577" y="415650"/>
            <a:ext cx="8186347" cy="1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30" name="Google Shape;30;p5"/>
          <p:cNvCxnSpPr>
            <a:cxnSpLocks/>
          </p:cNvCxnSpPr>
          <p:nvPr/>
        </p:nvCxnSpPr>
        <p:spPr>
          <a:xfrm>
            <a:off x="535502" y="4877157"/>
            <a:ext cx="8186422" cy="0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" name="Google Shape;32;p5"/>
          <p:cNvSpPr txBox="1">
            <a:spLocks noGrp="1"/>
          </p:cNvSpPr>
          <p:nvPr>
            <p:ph type="title"/>
          </p:nvPr>
        </p:nvSpPr>
        <p:spPr>
          <a:xfrm>
            <a:off x="535503" y="575950"/>
            <a:ext cx="8186347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 dirty="0"/>
          </a:p>
        </p:txBody>
      </p:sp>
      <p:sp>
        <p:nvSpPr>
          <p:cNvPr id="33" name="Google Shape;33;p5"/>
          <p:cNvSpPr txBox="1">
            <a:spLocks noGrp="1"/>
          </p:cNvSpPr>
          <p:nvPr>
            <p:ph type="body" idx="1"/>
          </p:nvPr>
        </p:nvSpPr>
        <p:spPr>
          <a:xfrm>
            <a:off x="3415936" y="1602675"/>
            <a:ext cx="2702377" cy="3002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 dirty="0"/>
          </a:p>
        </p:txBody>
      </p:sp>
      <p:sp>
        <p:nvSpPr>
          <p:cNvPr id="34" name="Google Shape;34;p5"/>
          <p:cNvSpPr txBox="1">
            <a:spLocks noGrp="1"/>
          </p:cNvSpPr>
          <p:nvPr>
            <p:ph type="body" idx="2"/>
          </p:nvPr>
        </p:nvSpPr>
        <p:spPr>
          <a:xfrm>
            <a:off x="6211388" y="1602675"/>
            <a:ext cx="2510583" cy="3002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8595300" y="4799600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  <p:sp>
        <p:nvSpPr>
          <p:cNvPr id="11" name="Google Shape;33;p5">
            <a:extLst>
              <a:ext uri="{FF2B5EF4-FFF2-40B4-BE49-F238E27FC236}">
                <a16:creationId xmlns:a16="http://schemas.microsoft.com/office/drawing/2014/main" id="{3175B9A0-F359-4F58-9905-400861B75736}"/>
              </a:ext>
            </a:extLst>
          </p:cNvPr>
          <p:cNvSpPr txBox="1">
            <a:spLocks noGrp="1"/>
          </p:cNvSpPr>
          <p:nvPr>
            <p:ph type="body" idx="13"/>
          </p:nvPr>
        </p:nvSpPr>
        <p:spPr>
          <a:xfrm>
            <a:off x="535502" y="1602675"/>
            <a:ext cx="2702377" cy="30024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C64431E-C424-4F37-9C39-00F5E5C985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3875" y="-25"/>
            <a:ext cx="1000125" cy="53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9137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303300" y="411575"/>
            <a:ext cx="8520600" cy="6396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sldNum" idx="12"/>
          </p:nvPr>
        </p:nvSpPr>
        <p:spPr>
          <a:xfrm>
            <a:off x="8497999" y="4688759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CCBAADB-C5DF-4EA5-87C1-D9305ECC13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3875" y="-25"/>
            <a:ext cx="1000125" cy="53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166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7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3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9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247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7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09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365126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9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6068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46" indent="-171446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25" indent="-173034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0090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42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1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46" indent="-171446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892" indent="-171446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25" indent="-173034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71" indent="-171446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6" y="1528724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05925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8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17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50236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199783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176430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24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783" indent="-171446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4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00987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2351857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3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FD844C-42E5-4EF0-A192-BB8FFABA4B59}" type="datetime1">
              <a:rPr lang="en-US" smtClean="0"/>
              <a:t>4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A5EC09-A814-4DB8-96F7-E242FDF392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822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3906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7684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9310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31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316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93440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77196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53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61" r:id="rId11"/>
    <p:sldLayoutId id="2147483862" r:id="rId12"/>
    <p:sldLayoutId id="2147483863" r:id="rId13"/>
    <p:sldLayoutId id="2147483878" r:id="rId14"/>
    <p:sldLayoutId id="2147483879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3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3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6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1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861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378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8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58" indent="-182558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0" indent="-149222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4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37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783" indent="-171446" algn="l" defTabSz="914378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hyperlink" Target="https://arxiv.org/abs/1810.10572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.jpeg"/><Relationship Id="rId11" Type="http://schemas.openxmlformats.org/officeDocument/2006/relationships/image" Target="../media/image13.jpg"/><Relationship Id="rId5" Type="http://schemas.openxmlformats.org/officeDocument/2006/relationships/image" Target="../media/image7.jpeg"/><Relationship Id="rId10" Type="http://schemas.openxmlformats.org/officeDocument/2006/relationships/image" Target="../media/image12.jpeg"/><Relationship Id="rId4" Type="http://schemas.openxmlformats.org/officeDocument/2006/relationships/image" Target="../media/image6.jpe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F851E49-3B87-4EEF-AC6E-3B70101D27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mproving mortality surveillance data in high mortality settings: </a:t>
            </a:r>
            <a:r>
              <a:rPr lang="en-US" dirty="0" err="1"/>
              <a:t>cHAMPS</a:t>
            </a:r>
            <a:r>
              <a:rPr lang="en-US" dirty="0"/>
              <a:t> and COMSA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D417861-CA35-4FE7-B2F2-04349076F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65125" y="4059936"/>
            <a:ext cx="8329613" cy="760868"/>
          </a:xfrm>
        </p:spPr>
        <p:txBody>
          <a:bodyPr/>
          <a:lstStyle/>
          <a:p>
            <a:r>
              <a:rPr lang="en-US" dirty="0"/>
              <a:t>Kathy Banke, Ph.D.</a:t>
            </a:r>
          </a:p>
          <a:p>
            <a:r>
              <a:rPr lang="en-US" dirty="0"/>
              <a:t>IDM Symposium</a:t>
            </a:r>
          </a:p>
          <a:p>
            <a:r>
              <a:rPr lang="en-US" dirty="0"/>
              <a:t>April 15, 201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E6DD9F-9773-43E3-9A95-02CD873DB69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12BC7D-07EC-4549-8DDF-8DBB052B6FB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955088" y="4895850"/>
            <a:ext cx="188912" cy="155575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68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E85AC9-B095-40B4-BC84-71189801030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685800">
              <a:defRPr/>
            </a:pPr>
            <a:fld id="{D3F7C509-FEEF-45D3-B896-7C07814C0C13}" type="slidenum">
              <a:rPr lang="en-US" sz="900">
                <a:solidFill>
                  <a:srgbClr val="000000"/>
                </a:solidFill>
                <a:latin typeface="Calibri" panose="020F0502020204030204"/>
                <a:cs typeface="+mn-cs"/>
              </a:rPr>
              <a:pPr defTabSz="685800">
                <a:defRPr/>
              </a:pPr>
              <a:t>10</a:t>
            </a:fld>
            <a:endParaRPr lang="en-US" sz="900" dirty="0">
              <a:solidFill>
                <a:srgbClr val="000000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4E9A513-1229-4D03-8DD8-9BE9CA8B4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700" b="1" dirty="0" err="1"/>
              <a:t>Srs</a:t>
            </a:r>
            <a:r>
              <a:rPr lang="en-US" sz="2700" b="1" dirty="0"/>
              <a:t> can be implemented while building universal </a:t>
            </a:r>
            <a:r>
              <a:rPr lang="en-US" sz="2700" b="1" dirty="0" err="1"/>
              <a:t>crvs</a:t>
            </a:r>
            <a:endParaRPr lang="en-US" sz="2700" b="1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3D57442-0348-43A2-A9F7-E22E2FE198E3}"/>
              </a:ext>
            </a:extLst>
          </p:cNvPr>
          <p:cNvSpPr/>
          <p:nvPr/>
        </p:nvSpPr>
        <p:spPr>
          <a:xfrm>
            <a:off x="365125" y="4904185"/>
            <a:ext cx="8659091" cy="2479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r>
              <a:rPr lang="en-US" sz="7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urce: Based on interview with Dr. Philip Setel, Vice President and Director of Civil Registration / Vital Statistics Program at Vital Strategies</a:t>
            </a:r>
          </a:p>
        </p:txBody>
      </p:sp>
      <p:sp>
        <p:nvSpPr>
          <p:cNvPr id="73" name="ColumnHeader">
            <a:extLst>
              <a:ext uri="{FF2B5EF4-FFF2-40B4-BE49-F238E27FC236}">
                <a16:creationId xmlns:a16="http://schemas.microsoft.com/office/drawing/2014/main" id="{967A249A-937B-46F1-A7A4-536C4E350C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6449" y="1127597"/>
            <a:ext cx="3256888" cy="64633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685800">
              <a:defRPr/>
            </a:pPr>
            <a:r>
              <a:rPr lang="en-US" sz="1500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RS can help countries build capacity for future surveillance efforts…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AEA6E78-9CF7-4624-A7DC-E98E1807550D}"/>
              </a:ext>
            </a:extLst>
          </p:cNvPr>
          <p:cNvSpPr/>
          <p:nvPr/>
        </p:nvSpPr>
        <p:spPr>
          <a:xfrm>
            <a:off x="398257" y="1747174"/>
            <a:ext cx="2227179" cy="315701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SzPct val="100000"/>
              <a:defRPr/>
            </a:pPr>
            <a:r>
              <a:rPr lang="en-US" sz="1050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tablish government buy-in</a:t>
            </a:r>
            <a:endParaRPr lang="en-US" sz="1050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46" indent="-171446" defTabSz="68580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elp ensure government agencies are willing to invest resources in improving country data</a:t>
            </a:r>
          </a:p>
          <a:p>
            <a:pPr marL="171446" indent="-171446" defTabSz="68580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duce statistics that demonstrate proof-of-concept for nation-wide surveillance </a:t>
            </a:r>
          </a:p>
          <a:p>
            <a:pPr marL="171446" indent="-171446" defTabSz="685800">
              <a:buSzPct val="100000"/>
              <a:buFont typeface="Arial" panose="020B0604020202020204" pitchFamily="34" charset="0"/>
              <a:buChar char="•"/>
              <a:defRPr/>
            </a:pPr>
            <a:endParaRPr lang="en-US" sz="1050" b="1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defTabSz="685800">
              <a:buSzPct val="100000"/>
              <a:defRPr/>
            </a:pPr>
            <a:r>
              <a:rPr lang="en-US" sz="1050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uild capacity</a:t>
            </a:r>
          </a:p>
          <a:p>
            <a:pPr marL="171446" indent="-171446" defTabSz="68580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vide in-country groups with skills and experience for accurate data collection</a:t>
            </a:r>
            <a:endParaRPr lang="en-US" sz="1050" b="1" dirty="0">
              <a:solidFill>
                <a:prstClr val="black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46" indent="-171446" defTabSz="68580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uild a network of collaboration and data sharing across groups within the country</a:t>
            </a:r>
          </a:p>
          <a:p>
            <a:pPr marL="171446" indent="-171446" defTabSz="685800"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05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es can serve as lighthouse areas for business process innovation in surveillance</a:t>
            </a:r>
          </a:p>
        </p:txBody>
      </p:sp>
      <p:sp>
        <p:nvSpPr>
          <p:cNvPr id="76" name="ColumnHeader">
            <a:extLst>
              <a:ext uri="{FF2B5EF4-FFF2-40B4-BE49-F238E27FC236}">
                <a16:creationId xmlns:a16="http://schemas.microsoft.com/office/drawing/2014/main" id="{33FAFBD0-7FE6-4632-A06C-C18587AB62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27020" y="1344089"/>
            <a:ext cx="5610532" cy="41549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 defTabSz="685800">
              <a:defRPr/>
            </a:pPr>
            <a:r>
              <a:rPr lang="en-US" sz="1500" b="1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…and serve as an important catalyst for a full CRVS system</a:t>
            </a:r>
          </a:p>
        </p:txBody>
      </p:sp>
      <p:sp>
        <p:nvSpPr>
          <p:cNvPr id="5" name="Isosceles Triangle 4">
            <a:extLst>
              <a:ext uri="{FF2B5EF4-FFF2-40B4-BE49-F238E27FC236}">
                <a16:creationId xmlns:a16="http://schemas.microsoft.com/office/drawing/2014/main" id="{F4424267-DEDD-41C0-B6F4-3482D5671758}"/>
              </a:ext>
            </a:extLst>
          </p:cNvPr>
          <p:cNvSpPr/>
          <p:nvPr/>
        </p:nvSpPr>
        <p:spPr>
          <a:xfrm>
            <a:off x="3196938" y="2168393"/>
            <a:ext cx="3830782" cy="505691"/>
          </a:xfrm>
          <a:prstGeom prst="triangle">
            <a:avLst/>
          </a:prstGeom>
          <a:solidFill>
            <a:srgbClr val="C0000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200" dirty="0">
                <a:solidFill>
                  <a:prstClr val="whit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VS Syste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5F4A8A-2C92-48BC-950F-475B17F36675}"/>
              </a:ext>
            </a:extLst>
          </p:cNvPr>
          <p:cNvSpPr/>
          <p:nvPr/>
        </p:nvSpPr>
        <p:spPr>
          <a:xfrm>
            <a:off x="3179620" y="4230240"/>
            <a:ext cx="3816929" cy="417960"/>
          </a:xfrm>
          <a:prstGeom prst="rect">
            <a:avLst/>
          </a:prstGeom>
          <a:solidFill>
            <a:srgbClr val="C0000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200" dirty="0">
                <a:solidFill>
                  <a:prstClr val="whit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versal birth registr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94D6FE-FBB7-4C29-887D-C07E65C6DA88}"/>
              </a:ext>
            </a:extLst>
          </p:cNvPr>
          <p:cNvSpPr/>
          <p:nvPr/>
        </p:nvSpPr>
        <p:spPr>
          <a:xfrm>
            <a:off x="3179618" y="2729500"/>
            <a:ext cx="1828797" cy="1423803"/>
          </a:xfrm>
          <a:prstGeom prst="rect">
            <a:avLst/>
          </a:prstGeom>
          <a:solidFill>
            <a:srgbClr val="C0000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200" dirty="0">
                <a:solidFill>
                  <a:prstClr val="whit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acility-based deaths and cause of death recording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FB59AB3-DBB0-4D28-BADC-12DD924B1C25}"/>
              </a:ext>
            </a:extLst>
          </p:cNvPr>
          <p:cNvSpPr/>
          <p:nvPr/>
        </p:nvSpPr>
        <p:spPr>
          <a:xfrm>
            <a:off x="5167751" y="2729500"/>
            <a:ext cx="1828797" cy="1423803"/>
          </a:xfrm>
          <a:prstGeom prst="rect">
            <a:avLst/>
          </a:prstGeom>
          <a:solidFill>
            <a:srgbClr val="C00000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r>
              <a:rPr lang="en-US" sz="1200" dirty="0">
                <a:solidFill>
                  <a:prstClr val="white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munity deaths and cause of death recording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27AA89B-D6F2-4115-9E51-591B67ED9A99}"/>
              </a:ext>
            </a:extLst>
          </p:cNvPr>
          <p:cNvSpPr/>
          <p:nvPr/>
        </p:nvSpPr>
        <p:spPr>
          <a:xfrm>
            <a:off x="5112329" y="2701792"/>
            <a:ext cx="1974273" cy="1500740"/>
          </a:xfrm>
          <a:prstGeom prst="rect">
            <a:avLst/>
          </a:prstGeom>
          <a:noFill/>
          <a:ln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5B9FDEB-CA66-4787-BACB-6EE9BCBD3D3D}"/>
              </a:ext>
            </a:extLst>
          </p:cNvPr>
          <p:cNvSpPr/>
          <p:nvPr/>
        </p:nvSpPr>
        <p:spPr>
          <a:xfrm>
            <a:off x="7162800" y="1896508"/>
            <a:ext cx="1803671" cy="29933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800">
              <a:defRPr/>
            </a:pPr>
            <a:r>
              <a:rPr lang="en-US" sz="1200" dirty="0">
                <a:solidFill>
                  <a:prstClr val="black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RS can help build capacity for all components of a CRVS system, but particularly help fill a data gap in the area of community deaths</a:t>
            </a:r>
          </a:p>
        </p:txBody>
      </p:sp>
    </p:spTree>
    <p:extLst>
      <p:ext uri="{BB962C8B-B14F-4D97-AF65-F5344CB8AC3E}">
        <p14:creationId xmlns:p14="http://schemas.microsoft.com/office/powerpoint/2010/main" val="110942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16BC78-F78D-4D4E-BC8F-28262EA2B12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B3C8F4-FB94-47C6-AC55-9CE9333F6F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233E107-C519-4532-8418-A4875CBDE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omsa</a:t>
            </a:r>
            <a:r>
              <a:rPr lang="en-US" dirty="0"/>
              <a:t> Mozambique results (as of March 2019)</a:t>
            </a:r>
          </a:p>
        </p:txBody>
      </p:sp>
    </p:spTree>
    <p:extLst>
      <p:ext uri="{BB962C8B-B14F-4D97-AF65-F5344CB8AC3E}">
        <p14:creationId xmlns:p14="http://schemas.microsoft.com/office/powerpoint/2010/main" val="330136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F5ADC-075F-4545-8D0B-E0E894863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03" y="424764"/>
            <a:ext cx="8186347" cy="635400"/>
          </a:xfrm>
        </p:spPr>
        <p:txBody>
          <a:bodyPr/>
          <a:lstStyle/>
          <a:p>
            <a:r>
              <a:rPr lang="en-US" dirty="0"/>
              <a:t>Population by age and se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96346C-C4B6-40D4-BA0C-152A706265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27790" y="1251029"/>
            <a:ext cx="2702377" cy="396853"/>
          </a:xfrm>
        </p:spPr>
        <p:txBody>
          <a:bodyPr/>
          <a:lstStyle/>
          <a:p>
            <a:pPr marL="139700" indent="0">
              <a:buNone/>
            </a:pPr>
            <a:r>
              <a:rPr lang="en-US" b="1" dirty="0"/>
              <a:t>Population pyrami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4068E4-CBDF-4383-B210-CF8B74D14DA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75533" y="1241583"/>
            <a:ext cx="5143500" cy="532917"/>
          </a:xfrm>
        </p:spPr>
        <p:txBody>
          <a:bodyPr/>
          <a:lstStyle/>
          <a:p>
            <a:pPr marL="139700" indent="0" algn="ctr">
              <a:buNone/>
            </a:pPr>
            <a:r>
              <a:rPr lang="en-US" b="1" dirty="0">
                <a:solidFill>
                  <a:schemeClr val="tx1">
                    <a:lumMod val="50000"/>
                  </a:schemeClr>
                </a:solidFill>
              </a:rPr>
              <a:t>Percent Distribution of the COMSA Population by Age and Sex and Sex Ratio</a:t>
            </a:r>
          </a:p>
          <a:p>
            <a:pPr marL="139700" indent="0" algn="ctr">
              <a:buNone/>
            </a:pP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8" name="Picture 7" descr="C:\Users\SJiwani\Downloads\h1.png">
            <a:extLst>
              <a:ext uri="{FF2B5EF4-FFF2-40B4-BE49-F238E27FC236}">
                <a16:creationId xmlns:a16="http://schemas.microsoft.com/office/drawing/2014/main" id="{C59AC1DB-542C-43BF-82CA-1C78FB8C18DC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497" y="1838747"/>
            <a:ext cx="3600449" cy="2961853"/>
          </a:xfrm>
          <a:prstGeom prst="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2C4660D-1DAB-465E-87DF-B809ADC282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61585223"/>
              </p:ext>
            </p:extLst>
          </p:nvPr>
        </p:nvGraphicFramePr>
        <p:xfrm>
          <a:off x="134711" y="1838748"/>
          <a:ext cx="5278210" cy="29618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75E6E39-D02D-4F5C-9F41-0155F49856D5}"/>
              </a:ext>
            </a:extLst>
          </p:cNvPr>
          <p:cNvCxnSpPr/>
          <p:nvPr/>
        </p:nvCxnSpPr>
        <p:spPr>
          <a:xfrm flipH="1">
            <a:off x="477611" y="2334986"/>
            <a:ext cx="4339318" cy="0"/>
          </a:xfrm>
          <a:prstGeom prst="line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628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AAEAD-0BEE-4EDE-B104-6A91DA81F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7927" y="484701"/>
            <a:ext cx="8608497" cy="635400"/>
          </a:xfrm>
        </p:spPr>
        <p:txBody>
          <a:bodyPr/>
          <a:lstStyle/>
          <a:p>
            <a:r>
              <a:rPr lang="en-US" dirty="0"/>
              <a:t>Current listing* of COMSA Population by province</a:t>
            </a:r>
            <a:endParaRPr lang="fr-FR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B8EAF19-E7C4-4CAF-94F2-6A5A39999B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7774962"/>
              </p:ext>
            </p:extLst>
          </p:nvPr>
        </p:nvGraphicFramePr>
        <p:xfrm>
          <a:off x="705852" y="1275347"/>
          <a:ext cx="8015998" cy="31185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F65B398-48D2-4189-B20C-13D0215866EE}"/>
              </a:ext>
            </a:extLst>
          </p:cNvPr>
          <p:cNvSpPr/>
          <p:nvPr/>
        </p:nvSpPr>
        <p:spPr>
          <a:xfrm>
            <a:off x="5355772" y="1351190"/>
            <a:ext cx="3082376" cy="910748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tal Population: 726,315</a:t>
            </a:r>
          </a:p>
          <a:p>
            <a:pPr algn="ctr"/>
            <a:r>
              <a:rPr lang="en-US" dirty="0"/>
              <a:t>Males: 354,358</a:t>
            </a:r>
          </a:p>
          <a:p>
            <a:pPr algn="ctr"/>
            <a:r>
              <a:rPr lang="en-US" dirty="0"/>
              <a:t>Females: 371,957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5ABC165-C449-4211-8742-652AF29E6FA9}"/>
              </a:ext>
            </a:extLst>
          </p:cNvPr>
          <p:cNvSpPr/>
          <p:nvPr/>
        </p:nvSpPr>
        <p:spPr>
          <a:xfrm>
            <a:off x="1306284" y="4381214"/>
            <a:ext cx="3220811" cy="27758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1 (Since April 2018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984BBE-F801-44F3-B8B4-2D895F7C22ED}"/>
              </a:ext>
            </a:extLst>
          </p:cNvPr>
          <p:cNvSpPr/>
          <p:nvPr/>
        </p:nvSpPr>
        <p:spPr>
          <a:xfrm>
            <a:off x="4740696" y="4393870"/>
            <a:ext cx="3825080" cy="24996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2 (Since October 2018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D1742C-0F58-4736-A42F-DE374B11E6EB}"/>
              </a:ext>
            </a:extLst>
          </p:cNvPr>
          <p:cNvSpPr txBox="1"/>
          <p:nvPr/>
        </p:nvSpPr>
        <p:spPr>
          <a:xfrm>
            <a:off x="387927" y="4893536"/>
            <a:ext cx="4967845" cy="190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*Listing still underway in some COMSA clusters</a:t>
            </a:r>
          </a:p>
        </p:txBody>
      </p:sp>
    </p:spTree>
    <p:extLst>
      <p:ext uri="{BB962C8B-B14F-4D97-AF65-F5344CB8AC3E}">
        <p14:creationId xmlns:p14="http://schemas.microsoft.com/office/powerpoint/2010/main" val="13564526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475860E-F97D-4B6C-B51D-B9026E2575A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1850568"/>
              </p:ext>
            </p:extLst>
          </p:nvPr>
        </p:nvGraphicFramePr>
        <p:xfrm>
          <a:off x="779689" y="1211349"/>
          <a:ext cx="7544914" cy="283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3AAEAD-0BEE-4EDE-B104-6A91DA81FE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irths by Province</a:t>
            </a:r>
            <a:endParaRPr lang="fr-FR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390658-22C8-48EA-822F-EEAA694BC208}"/>
              </a:ext>
            </a:extLst>
          </p:cNvPr>
          <p:cNvSpPr/>
          <p:nvPr/>
        </p:nvSpPr>
        <p:spPr>
          <a:xfrm>
            <a:off x="1277896" y="4161317"/>
            <a:ext cx="3220811" cy="27758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1 (Since April 2018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C64D14-BCDE-4854-AF44-5AEA6AC35B27}"/>
              </a:ext>
            </a:extLst>
          </p:cNvPr>
          <p:cNvSpPr/>
          <p:nvPr/>
        </p:nvSpPr>
        <p:spPr>
          <a:xfrm>
            <a:off x="5335361" y="1326696"/>
            <a:ext cx="2188028" cy="718458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Total Births: 6,935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A36226-BDB1-43A1-AFC3-C3D0E2194D11}"/>
              </a:ext>
            </a:extLst>
          </p:cNvPr>
          <p:cNvSpPr/>
          <p:nvPr/>
        </p:nvSpPr>
        <p:spPr>
          <a:xfrm>
            <a:off x="4628676" y="4161316"/>
            <a:ext cx="3825080" cy="2887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2 (Since October 2018)</a:t>
            </a:r>
          </a:p>
        </p:txBody>
      </p:sp>
    </p:spTree>
    <p:extLst>
      <p:ext uri="{BB962C8B-B14F-4D97-AF65-F5344CB8AC3E}">
        <p14:creationId xmlns:p14="http://schemas.microsoft.com/office/powerpoint/2010/main" val="7264257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AAEAD-0BEE-4EDE-B104-6A91DA81F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778" y="569512"/>
            <a:ext cx="8608497" cy="635400"/>
          </a:xfrm>
        </p:spPr>
        <p:txBody>
          <a:bodyPr/>
          <a:lstStyle/>
          <a:p>
            <a:r>
              <a:rPr lang="en-US" sz="2400" dirty="0"/>
              <a:t>Proportion of Births by Place of Delivery and Province</a:t>
            </a:r>
            <a:endParaRPr lang="fr-FR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F2716C-7F38-4A99-999A-0341460EF5FB}"/>
              </a:ext>
            </a:extLst>
          </p:cNvPr>
          <p:cNvSpPr/>
          <p:nvPr/>
        </p:nvSpPr>
        <p:spPr>
          <a:xfrm>
            <a:off x="1235034" y="4362234"/>
            <a:ext cx="2919523" cy="2449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1 (Since April 2018)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F497F015-E328-44C5-8C76-E13E85D5CD4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4263146"/>
              </p:ext>
            </p:extLst>
          </p:nvPr>
        </p:nvGraphicFramePr>
        <p:xfrm>
          <a:off x="920336" y="1202168"/>
          <a:ext cx="7511145" cy="31573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055D0F6-52A3-45EA-B68C-3EBD6C9C6B05}"/>
              </a:ext>
            </a:extLst>
          </p:cNvPr>
          <p:cNvSpPr/>
          <p:nvPr/>
        </p:nvSpPr>
        <p:spPr>
          <a:xfrm>
            <a:off x="4398584" y="4340307"/>
            <a:ext cx="3825080" cy="2887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2 (Since October 2018)</a:t>
            </a:r>
          </a:p>
        </p:txBody>
      </p:sp>
    </p:spTree>
    <p:extLst>
      <p:ext uri="{BB962C8B-B14F-4D97-AF65-F5344CB8AC3E}">
        <p14:creationId xmlns:p14="http://schemas.microsoft.com/office/powerpoint/2010/main" val="19310245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BD9AEF6-CD75-41E5-8E00-8677A8BED9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1109296"/>
              </p:ext>
            </p:extLst>
          </p:nvPr>
        </p:nvGraphicFramePr>
        <p:xfrm>
          <a:off x="561475" y="881859"/>
          <a:ext cx="7901798" cy="3633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399AF1-C9EF-4439-BEA9-6C41F3B802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745" y="171451"/>
            <a:ext cx="7782543" cy="710408"/>
          </a:xfrm>
        </p:spPr>
        <p:txBody>
          <a:bodyPr/>
          <a:lstStyle/>
          <a:p>
            <a:pPr algn="ctr"/>
            <a:r>
              <a:rPr lang="en-US" sz="2400" dirty="0"/>
              <a:t>Number of Deaths by Age and Province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826FE55-262E-4CEB-A9EB-A7DFE21900C2}"/>
              </a:ext>
            </a:extLst>
          </p:cNvPr>
          <p:cNvSpPr/>
          <p:nvPr/>
        </p:nvSpPr>
        <p:spPr>
          <a:xfrm>
            <a:off x="5739666" y="802106"/>
            <a:ext cx="2723606" cy="1828800"/>
          </a:xfrm>
          <a:prstGeom prst="ellipse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8"/>
            <a:r>
              <a:rPr lang="en-US" sz="2400" b="1" dirty="0">
                <a:solidFill>
                  <a:srgbClr val="000000"/>
                </a:solidFill>
                <a:latin typeface="Arial"/>
              </a:rPr>
              <a:t>2,910</a:t>
            </a:r>
            <a:r>
              <a:rPr lang="en-US" sz="1800" b="1" dirty="0">
                <a:solidFill>
                  <a:srgbClr val="000000"/>
                </a:solidFill>
                <a:latin typeface="Arial"/>
              </a:rPr>
              <a:t> deaths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71B2407-BF91-4D1A-A6B9-29584349EC6E}"/>
              </a:ext>
            </a:extLst>
          </p:cNvPr>
          <p:cNvSpPr/>
          <p:nvPr/>
        </p:nvSpPr>
        <p:spPr>
          <a:xfrm>
            <a:off x="6043613" y="1528017"/>
            <a:ext cx="2207418" cy="988481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en-US" sz="1800" b="1" dirty="0">
                <a:solidFill>
                  <a:schemeClr val="tx1"/>
                </a:solidFill>
                <a:latin typeface="Arial"/>
              </a:rPr>
              <a:t>1,941 VAs</a:t>
            </a:r>
          </a:p>
          <a:p>
            <a:pPr algn="ctr" defTabSz="914378"/>
            <a:r>
              <a:rPr lang="en-US" sz="1050" b="1" dirty="0">
                <a:solidFill>
                  <a:schemeClr val="tx1"/>
                </a:solidFill>
                <a:latin typeface="Arial"/>
              </a:rPr>
              <a:t>(67%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87EFE25-AFCD-41E2-BB55-B72D17990780}"/>
              </a:ext>
            </a:extLst>
          </p:cNvPr>
          <p:cNvSpPr/>
          <p:nvPr/>
        </p:nvSpPr>
        <p:spPr>
          <a:xfrm>
            <a:off x="1088448" y="4432534"/>
            <a:ext cx="3220811" cy="277585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1 (Since April 2018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D72699-0494-47EE-9FBD-2825ED433AB3}"/>
              </a:ext>
            </a:extLst>
          </p:cNvPr>
          <p:cNvSpPr txBox="1"/>
          <p:nvPr/>
        </p:nvSpPr>
        <p:spPr>
          <a:xfrm>
            <a:off x="716280" y="4914900"/>
            <a:ext cx="3599688" cy="16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2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Data through March 29, 2019. Includes stillbirth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842DB0-27CB-43D2-8E58-42B72C35D9C1}"/>
              </a:ext>
            </a:extLst>
          </p:cNvPr>
          <p:cNvSpPr/>
          <p:nvPr/>
        </p:nvSpPr>
        <p:spPr>
          <a:xfrm>
            <a:off x="4512374" y="4442210"/>
            <a:ext cx="3825080" cy="2887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2 (Since October 2018)</a:t>
            </a:r>
          </a:p>
        </p:txBody>
      </p:sp>
    </p:spTree>
    <p:extLst>
      <p:ext uri="{BB962C8B-B14F-4D97-AF65-F5344CB8AC3E}">
        <p14:creationId xmlns:p14="http://schemas.microsoft.com/office/powerpoint/2010/main" val="24125604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AAEAD-0BEE-4EDE-B104-6A91DA81FE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495740"/>
            <a:ext cx="8991600" cy="635400"/>
          </a:xfrm>
        </p:spPr>
        <p:txBody>
          <a:bodyPr/>
          <a:lstStyle/>
          <a:p>
            <a:r>
              <a:rPr lang="en-US" dirty="0"/>
              <a:t>Proportion of Health Facility Deaths by Province</a:t>
            </a:r>
            <a:endParaRPr lang="fr-FR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3767BB-A09F-42F4-A858-784AE2284073}"/>
              </a:ext>
            </a:extLst>
          </p:cNvPr>
          <p:cNvSpPr/>
          <p:nvPr/>
        </p:nvSpPr>
        <p:spPr>
          <a:xfrm>
            <a:off x="1088449" y="4528458"/>
            <a:ext cx="3085114" cy="24678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1 (Since April 2018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9A11F1B-208A-4302-81BF-D197C1BDA2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0394200"/>
              </p:ext>
            </p:extLst>
          </p:nvPr>
        </p:nvGraphicFramePr>
        <p:xfrm>
          <a:off x="497306" y="1353787"/>
          <a:ext cx="8361686" cy="30843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4D8F3F2-BF18-4FA3-A34A-B2CD47217F16}"/>
              </a:ext>
            </a:extLst>
          </p:cNvPr>
          <p:cNvSpPr/>
          <p:nvPr/>
        </p:nvSpPr>
        <p:spPr>
          <a:xfrm>
            <a:off x="4406204" y="4516439"/>
            <a:ext cx="3649347" cy="258802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hase 2 (Since October 2018)</a:t>
            </a:r>
          </a:p>
        </p:txBody>
      </p:sp>
    </p:spTree>
    <p:extLst>
      <p:ext uri="{BB962C8B-B14F-4D97-AF65-F5344CB8AC3E}">
        <p14:creationId xmlns:p14="http://schemas.microsoft.com/office/powerpoint/2010/main" val="396194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BE66AAF4-E41E-43FA-AEF0-2E10D1BA50F1}"/>
              </a:ext>
            </a:extLst>
          </p:cNvPr>
          <p:cNvSpPr/>
          <p:nvPr/>
        </p:nvSpPr>
        <p:spPr>
          <a:xfrm>
            <a:off x="3862249" y="958859"/>
            <a:ext cx="5124964" cy="5231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2B145E-8BE4-4E27-80B7-9E9C9F42830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      |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76C540-4F57-49BE-8D2C-CB05CAEB96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F7C509-FEEF-45D3-B896-7C07814C0C1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1A07B8A-2915-4237-8F0B-C047F01D3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846" y="130847"/>
            <a:ext cx="8547602" cy="523183"/>
          </a:xfrm>
        </p:spPr>
        <p:txBody>
          <a:bodyPr/>
          <a:lstStyle/>
          <a:p>
            <a:r>
              <a:rPr lang="en-US" sz="2000">
                <a:latin typeface="Arial"/>
                <a:cs typeface="Arial"/>
              </a:rPr>
              <a:t>new approach enables USE OF MITs/VA pairs to incrementally adjust VA</a:t>
            </a:r>
            <a:r>
              <a:rPr lang="en-US" sz="1600">
                <a:latin typeface="Arial"/>
                <a:cs typeface="Arial"/>
              </a:rPr>
              <a:t>s</a:t>
            </a:r>
            <a:r>
              <a:rPr lang="en-US" sz="2000">
                <a:latin typeface="Arial"/>
                <a:cs typeface="Arial"/>
              </a:rPr>
              <a:t> and Improve CAUSE OF DEATH DATA</a:t>
            </a:r>
            <a:endParaRPr lang="en-US">
              <a:latin typeface="Arial"/>
              <a:cs typeface="Arial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BE7F40D-E0C3-4530-8E50-1EAA7A32D32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93334" y="2935837"/>
          <a:ext cx="3071983" cy="17711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216">
                  <a:extLst>
                    <a:ext uri="{9D8B030D-6E8A-4147-A177-3AD203B41FA5}">
                      <a16:colId xmlns:a16="http://schemas.microsoft.com/office/drawing/2014/main" val="1870041648"/>
                    </a:ext>
                  </a:extLst>
                </a:gridCol>
                <a:gridCol w="359391">
                  <a:extLst>
                    <a:ext uri="{9D8B030D-6E8A-4147-A177-3AD203B41FA5}">
                      <a16:colId xmlns:a16="http://schemas.microsoft.com/office/drawing/2014/main" val="3318788007"/>
                    </a:ext>
                  </a:extLst>
                </a:gridCol>
                <a:gridCol w="361611">
                  <a:extLst>
                    <a:ext uri="{9D8B030D-6E8A-4147-A177-3AD203B41FA5}">
                      <a16:colId xmlns:a16="http://schemas.microsoft.com/office/drawing/2014/main" val="1165480198"/>
                    </a:ext>
                  </a:extLst>
                </a:gridCol>
                <a:gridCol w="290935">
                  <a:extLst>
                    <a:ext uri="{9D8B030D-6E8A-4147-A177-3AD203B41FA5}">
                      <a16:colId xmlns:a16="http://schemas.microsoft.com/office/drawing/2014/main" val="1278065087"/>
                    </a:ext>
                  </a:extLst>
                </a:gridCol>
                <a:gridCol w="316607">
                  <a:extLst>
                    <a:ext uri="{9D8B030D-6E8A-4147-A177-3AD203B41FA5}">
                      <a16:colId xmlns:a16="http://schemas.microsoft.com/office/drawing/2014/main" val="1359540461"/>
                    </a:ext>
                  </a:extLst>
                </a:gridCol>
                <a:gridCol w="316607">
                  <a:extLst>
                    <a:ext uri="{9D8B030D-6E8A-4147-A177-3AD203B41FA5}">
                      <a16:colId xmlns:a16="http://schemas.microsoft.com/office/drawing/2014/main" val="2686966319"/>
                    </a:ext>
                  </a:extLst>
                </a:gridCol>
                <a:gridCol w="265265">
                  <a:extLst>
                    <a:ext uri="{9D8B030D-6E8A-4147-A177-3AD203B41FA5}">
                      <a16:colId xmlns:a16="http://schemas.microsoft.com/office/drawing/2014/main" val="1941612774"/>
                    </a:ext>
                  </a:extLst>
                </a:gridCol>
                <a:gridCol w="402177">
                  <a:extLst>
                    <a:ext uri="{9D8B030D-6E8A-4147-A177-3AD203B41FA5}">
                      <a16:colId xmlns:a16="http://schemas.microsoft.com/office/drawing/2014/main" val="1170357932"/>
                    </a:ext>
                  </a:extLst>
                </a:gridCol>
                <a:gridCol w="256707">
                  <a:extLst>
                    <a:ext uri="{9D8B030D-6E8A-4147-A177-3AD203B41FA5}">
                      <a16:colId xmlns:a16="http://schemas.microsoft.com/office/drawing/2014/main" val="890844116"/>
                    </a:ext>
                  </a:extLst>
                </a:gridCol>
                <a:gridCol w="251467">
                  <a:extLst>
                    <a:ext uri="{9D8B030D-6E8A-4147-A177-3AD203B41FA5}">
                      <a16:colId xmlns:a16="http://schemas.microsoft.com/office/drawing/2014/main" val="1443982503"/>
                    </a:ext>
                  </a:extLst>
                </a:gridCol>
              </a:tblGrid>
              <a:tr h="233216">
                <a:tc gridSpan="10">
                  <a:txBody>
                    <a:bodyPr/>
                    <a:lstStyle/>
                    <a:p>
                      <a:pPr algn="ctr"/>
                      <a:r>
                        <a:rPr lang="en-US" sz="80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Verbal Autopsy </a:t>
                      </a:r>
                    </a:p>
                  </a:txBody>
                  <a:tcPr marL="95167" marR="95167" marT="47584" marB="4758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7952270"/>
                  </a:ext>
                </a:extLst>
              </a:tr>
              <a:tr h="221369">
                <a:tc rowSpan="9">
                  <a:txBody>
                    <a:bodyPr/>
                    <a:lstStyle/>
                    <a:p>
                      <a:endParaRPr lang="en-US" sz="700">
                        <a:solidFill>
                          <a:schemeClr val="accent6"/>
                        </a:solidFill>
                      </a:endParaRPr>
                    </a:p>
                  </a:txBody>
                  <a:tcPr marL="95167" marR="95167" marT="47584" marB="47584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4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 Narrow"/>
                        <a:cs typeface="Arial"/>
                      </a:endParaRPr>
                    </a:p>
                  </a:txBody>
                  <a:tcPr marL="31413" marR="0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 b="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Pneumonia</a:t>
                      </a:r>
                      <a:endParaRPr lang="en-US" sz="400" b="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0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Malaria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0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Diarrhea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0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Other</a:t>
                      </a:r>
                      <a:r>
                        <a:rPr lang="en-US" sz="4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 </a:t>
                      </a:r>
                      <a:endParaRPr lang="en-US" sz="4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infections</a:t>
                      </a:r>
                    </a:p>
                  </a:txBody>
                  <a:tcPr marL="31413" marR="0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HIV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0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Malnutrition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0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 b="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Other</a:t>
                      </a:r>
                      <a:endParaRPr lang="en-US" sz="1200" b="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 b="1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Total</a:t>
                      </a:r>
                      <a:endParaRPr lang="en-US" sz="1200" b="1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944317"/>
                  </a:ext>
                </a:extLst>
              </a:tr>
              <a:tr h="178514">
                <a:tc v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Pneumonia</a:t>
                      </a:r>
                      <a:endParaRPr lang="en-US" sz="4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42%</a:t>
                      </a: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8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25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8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kern="1200">
                          <a:solidFill>
                            <a:schemeClr val="accent6"/>
                          </a:solidFill>
                          <a:latin typeface="Arial"/>
                          <a:ea typeface="+mn-ea"/>
                          <a:cs typeface="Arial"/>
                        </a:rPr>
                        <a:t>17%</a:t>
                      </a:r>
                      <a:endParaRPr lang="en-US" sz="500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24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8826178"/>
                  </a:ext>
                </a:extLst>
              </a:tr>
              <a:tr h="167077">
                <a:tc v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Malaria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3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33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3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2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kern="1200">
                          <a:solidFill>
                            <a:schemeClr val="accent6"/>
                          </a:solidFill>
                          <a:latin typeface="Arial"/>
                          <a:ea typeface="+mn-ea"/>
                          <a:cs typeface="Arial"/>
                        </a:rPr>
                        <a:t>20%</a:t>
                      </a:r>
                      <a:endParaRPr lang="en-US" sz="500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15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7621054"/>
                  </a:ext>
                </a:extLst>
              </a:tr>
              <a:tr h="155093">
                <a:tc v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Diarrhea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31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38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6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9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6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kern="1200">
                          <a:solidFill>
                            <a:schemeClr val="accent6"/>
                          </a:solidFill>
                          <a:latin typeface="Arial"/>
                          <a:ea typeface="+mn-ea"/>
                          <a:cs typeface="Arial"/>
                        </a:rPr>
                        <a:t>0%</a:t>
                      </a:r>
                      <a:endParaRPr lang="en-US" sz="500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16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3600549"/>
                  </a:ext>
                </a:extLst>
              </a:tr>
              <a:tr h="217034">
                <a:tc v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Other</a:t>
                      </a:r>
                      <a:r>
                        <a:rPr lang="en-US" sz="4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 </a:t>
                      </a:r>
                      <a:endParaRPr lang="en-US" sz="4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infections</a:t>
                      </a: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5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5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5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kern="1200">
                          <a:solidFill>
                            <a:schemeClr val="accent6"/>
                          </a:solidFill>
                          <a:latin typeface="Arial"/>
                          <a:ea typeface="+mn-ea"/>
                          <a:cs typeface="Arial"/>
                        </a:rPr>
                        <a:t>30%</a:t>
                      </a:r>
                      <a:endParaRPr lang="en-US" sz="500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20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6647273"/>
                  </a:ext>
                </a:extLst>
              </a:tr>
              <a:tr h="144293">
                <a:tc v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HIV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3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4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26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4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22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4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kern="1200">
                          <a:solidFill>
                            <a:schemeClr val="accent6"/>
                          </a:solidFill>
                          <a:latin typeface="Arial"/>
                          <a:ea typeface="+mn-ea"/>
                          <a:cs typeface="Arial"/>
                        </a:rPr>
                        <a:t>9%</a:t>
                      </a:r>
                      <a:endParaRPr lang="en-US" sz="500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23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061669"/>
                  </a:ext>
                </a:extLst>
              </a:tr>
              <a:tr h="167078">
                <a:tc vMerge="1">
                  <a:txBody>
                    <a:bodyPr/>
                    <a:lstStyle/>
                    <a:p>
                      <a:endParaRPr lang="en-US" sz="110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Malnutrition</a:t>
                      </a:r>
                      <a:r>
                        <a:rPr lang="en-US" sz="4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 </a:t>
                      </a:r>
                      <a:endParaRPr lang="en-US" sz="4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5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5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5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2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5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kern="1200">
                          <a:solidFill>
                            <a:schemeClr val="accent6"/>
                          </a:solidFill>
                          <a:latin typeface="Arial"/>
                          <a:ea typeface="+mn-ea"/>
                          <a:cs typeface="Arial"/>
                        </a:rPr>
                        <a:t>20%</a:t>
                      </a:r>
                      <a:endParaRPr lang="en-US" sz="500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20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2866032"/>
                  </a:ext>
                </a:extLst>
              </a:tr>
              <a:tr h="14542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Other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29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4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4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12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0%</a:t>
                      </a:r>
                      <a:endParaRPr lang="en-US" sz="5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500" kern="1200">
                          <a:solidFill>
                            <a:schemeClr val="accent6"/>
                          </a:solidFill>
                          <a:latin typeface="Arial"/>
                          <a:ea typeface="+mn-ea"/>
                          <a:cs typeface="Arial"/>
                        </a:rPr>
                        <a:t>41%</a:t>
                      </a:r>
                      <a:endParaRPr lang="en-US" sz="500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49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1412244"/>
                  </a:ext>
                </a:extLst>
              </a:tr>
              <a:tr h="14202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8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">
                          <a:ln w="6350">
                            <a:noFill/>
                          </a:ln>
                          <a:solidFill>
                            <a:schemeClr val="accent6"/>
                          </a:solidFill>
                          <a:latin typeface="Arial"/>
                          <a:cs typeface="Arial"/>
                        </a:rPr>
                        <a:t>Total</a:t>
                      </a:r>
                      <a:endParaRPr lang="en-US" sz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500" b="1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500" b="1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500" b="1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500" b="1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500" b="1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500" b="1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500" b="1" kern="1200">
                        <a:ln w="6350">
                          <a:noFill/>
                        </a:ln>
                        <a:solidFill>
                          <a:schemeClr val="accent6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1">
                          <a:ln w="6350"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/>
                          <a:cs typeface="Arial"/>
                        </a:rPr>
                        <a:t>167</a:t>
                      </a:r>
                      <a:endParaRPr lang="en-US" sz="1400" b="1">
                        <a:ln w="6350">
                          <a:noFill/>
                        </a:ln>
                        <a:solidFill>
                          <a:schemeClr val="tx1">
                            <a:lumMod val="50000"/>
                          </a:schemeClr>
                        </a:solidFill>
                        <a:latin typeface="Arial"/>
                        <a:cs typeface="Arial"/>
                      </a:endParaRPr>
                    </a:p>
                  </a:txBody>
                  <a:tcPr marL="31413" marR="31413" marT="31413" marB="31413" anchor="ctr">
                    <a:lnL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3753195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40B35FAC-A963-4124-BF94-6194EDFAFFFE}"/>
              </a:ext>
            </a:extLst>
          </p:cNvPr>
          <p:cNvSpPr txBox="1"/>
          <p:nvPr/>
        </p:nvSpPr>
        <p:spPr>
          <a:xfrm>
            <a:off x="221449" y="757238"/>
            <a:ext cx="3236914" cy="32861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Current State: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Verbal Autopsies </a:t>
            </a:r>
            <a:r>
              <a:rPr lang="en-US" sz="1000">
                <a:solidFill>
                  <a:srgbClr val="000000"/>
                </a:solidFill>
                <a:latin typeface="Arial Narrow"/>
                <a:cs typeface="Arial"/>
              </a:rPr>
              <a:t>(VAs)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are the standard approach to evaluate</a:t>
            </a:r>
            <a:r>
              <a:rPr kumimoji="0" lang="en-US" sz="10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cause of death (COD)</a:t>
            </a:r>
            <a:r>
              <a:rPr kumimoji="0" lang="en-US" sz="1000" b="0" i="0" u="none" strike="noStrike" kern="1200" cap="none" spc="0" normalizeH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 in 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226 </a:t>
            </a:r>
            <a:r>
              <a:rPr lang="en-US" sz="1000">
                <a:solidFill>
                  <a:srgbClr val="000000"/>
                </a:solidFill>
                <a:latin typeface="Arial Narrow"/>
                <a:cs typeface="Arial"/>
              </a:rPr>
              <a:t>child deaths</a:t>
            </a: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 from COMSA Mozambiqu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1A67A0-327E-44E5-A5E1-D0A4D7157B16}"/>
              </a:ext>
            </a:extLst>
          </p:cNvPr>
          <p:cNvSpPr txBox="1"/>
          <p:nvPr/>
        </p:nvSpPr>
        <p:spPr>
          <a:xfrm>
            <a:off x="4064953" y="1029714"/>
            <a:ext cx="4944272" cy="32861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defRPr/>
            </a:pPr>
            <a:r>
              <a:rPr lang="en-US" sz="1200" b="1">
                <a:solidFill>
                  <a:srgbClr val="000000"/>
                </a:solidFill>
                <a:latin typeface="Arial Narrow"/>
                <a:cs typeface="Arial"/>
              </a:rPr>
              <a:t>The challenge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: </a:t>
            </a:r>
            <a:r>
              <a:rPr lang="en-US" sz="1200">
                <a:solidFill>
                  <a:srgbClr val="000000"/>
                </a:solidFill>
                <a:latin typeface="Arial Narrow"/>
                <a:cs typeface="Arial"/>
              </a:rPr>
              <a:t>How many gold standard MITS paired with VAs do we need to start adjusting 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our understanding of COD from the thousands of </a:t>
            </a:r>
            <a:r>
              <a:rPr lang="en-US" sz="1200">
                <a:solidFill>
                  <a:srgbClr val="000000"/>
                </a:solidFill>
                <a:latin typeface="Arial Narrow"/>
                <a:cs typeface="Arial"/>
              </a:rPr>
              <a:t>current</a:t>
            </a:r>
            <a:r>
              <a: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 and historical VAs?</a:t>
            </a:r>
            <a:endParaRPr lang="en-US" sz="1200" i="0" u="none" strike="noStrike" kern="1200" cap="none" spc="0" baseline="0" noProof="0">
              <a:solidFill>
                <a:srgbClr val="000000"/>
              </a:solidFill>
              <a:latin typeface="Arial Narrow"/>
              <a:cs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17E890-143D-4330-8704-DD38BCCE5365}"/>
              </a:ext>
            </a:extLst>
          </p:cNvPr>
          <p:cNvSpPr txBox="1"/>
          <p:nvPr/>
        </p:nvSpPr>
        <p:spPr>
          <a:xfrm>
            <a:off x="219042" y="2436627"/>
            <a:ext cx="3031202" cy="51626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Impact of MITS:</a:t>
            </a:r>
            <a:r>
              <a:rPr lang="en-US" sz="1000">
                <a:solidFill>
                  <a:srgbClr val="000000"/>
                </a:solidFill>
                <a:latin typeface="Arial Narrow"/>
                <a:cs typeface="Arial"/>
              </a:rPr>
              <a:t> MITS and VA done blindly on the same 167 CHAMPS deaths (1-59-month-olds) confirms and quantifies VA misclassification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D9DC1E7-6057-4495-9B62-4D963E0B46C8}"/>
              </a:ext>
            </a:extLst>
          </p:cNvPr>
          <p:cNvSpPr txBox="1"/>
          <p:nvPr/>
        </p:nvSpPr>
        <p:spPr>
          <a:xfrm>
            <a:off x="3815398" y="1558240"/>
            <a:ext cx="5335802" cy="19343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91440" rIns="91440" bIns="9144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Calibrated COMSA </a:t>
            </a:r>
            <a:r>
              <a:rPr lang="en-US" sz="1000" b="1" i="1">
                <a:solidFill>
                  <a:srgbClr val="000000"/>
                </a:solidFill>
                <a:latin typeface="Arial Narrow"/>
                <a:cs typeface="Arial"/>
              </a:rPr>
              <a:t>VAs</a:t>
            </a:r>
            <a:r>
              <a:rPr kumimoji="0" lang="en-US" sz="1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 based on Bayesian hierarchical approach with MITS-VA error matrix*</a:t>
            </a: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"/>
              </a:rPr>
              <a:t>  </a:t>
            </a: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BB796CE6-E733-4569-B6E3-2C4A21B4A15C}"/>
              </a:ext>
            </a:extLst>
          </p:cNvPr>
          <p:cNvSpPr/>
          <p:nvPr/>
        </p:nvSpPr>
        <p:spPr>
          <a:xfrm rot="5400000">
            <a:off x="1606001" y="2720547"/>
            <a:ext cx="3900491" cy="258568"/>
          </a:xfrm>
          <a:prstGeom prst="triangle">
            <a:avLst/>
          </a:prstGeom>
          <a:solidFill>
            <a:schemeClr val="accent6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BB5A9D2A-E9E0-4B10-9846-EBDFC792BA39}"/>
              </a:ext>
            </a:extLst>
          </p:cNvPr>
          <p:cNvGraphicFramePr/>
          <p:nvPr>
            <p:extLst/>
          </p:nvPr>
        </p:nvGraphicFramePr>
        <p:xfrm>
          <a:off x="507359" y="1192019"/>
          <a:ext cx="2443931" cy="13065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CB346898-B069-4CD8-8034-392EF18C2A12}"/>
              </a:ext>
            </a:extLst>
          </p:cNvPr>
          <p:cNvSpPr txBox="1"/>
          <p:nvPr/>
        </p:nvSpPr>
        <p:spPr>
          <a:xfrm rot="16200000">
            <a:off x="-210749" y="3862609"/>
            <a:ext cx="1086294" cy="19416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noAutofit/>
          </a:bodyPr>
          <a:lstStyle/>
          <a:p>
            <a:pPr algn="ctr">
              <a:defRPr/>
            </a:pPr>
            <a:r>
              <a:rPr lang="en-US" sz="800" b="1">
                <a:solidFill>
                  <a:srgbClr val="000000"/>
                </a:solidFill>
                <a:latin typeface="Arial"/>
                <a:cs typeface="Arial"/>
              </a:rPr>
              <a:t>Decoded MIT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BE78637-18B5-456A-8B98-8908412F0932}"/>
              </a:ext>
            </a:extLst>
          </p:cNvPr>
          <p:cNvSpPr txBox="1"/>
          <p:nvPr/>
        </p:nvSpPr>
        <p:spPr>
          <a:xfrm>
            <a:off x="243846" y="4893192"/>
            <a:ext cx="4454609" cy="24798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700" dirty="0">
                <a:solidFill>
                  <a:schemeClr val="accent6"/>
                </a:solidFill>
                <a:latin typeface="Arial Narrow" panose="020B0606020202030204" pitchFamily="34" charset="0"/>
              </a:rPr>
              <a:t>*Datta A, Fiksel J, Amouzou A, and Zeger S. Local calibration of verbal autopsy algorithms. Submitted to the Journal of the American Statistical Association (Oct 2018). </a:t>
            </a:r>
            <a:r>
              <a:rPr lang="en-US" sz="700" dirty="0">
                <a:solidFill>
                  <a:schemeClr val="accent6"/>
                </a:solidFill>
                <a:latin typeface="Arial Narrow" panose="020B060602020203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Xiv:1810.10572</a:t>
            </a:r>
            <a:r>
              <a:rPr lang="en-US" sz="700" dirty="0">
                <a:solidFill>
                  <a:schemeClr val="accent6"/>
                </a:solidFill>
                <a:latin typeface="Arial Narrow" panose="020B0606020202030204" pitchFamily="34" charset="0"/>
              </a:rPr>
              <a:t> [stat.ME]. </a:t>
            </a:r>
            <a:r>
              <a:rPr lang="en-US" sz="700" b="1" dirty="0">
                <a:solidFill>
                  <a:schemeClr val="accent6"/>
                </a:solidFill>
                <a:latin typeface="Arial Narrow" panose="020B0606020202030204" pitchFamily="34" charset="0"/>
              </a:rPr>
              <a:t>Note: The data on this slide are preliminary; please do not share.</a:t>
            </a:r>
          </a:p>
          <a:p>
            <a:endParaRPr lang="en-US" sz="140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4B42581-C604-4C2E-87C3-D403B4D08CF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30"/>
          <a:stretch/>
        </p:blipFill>
        <p:spPr>
          <a:xfrm>
            <a:off x="3974822" y="1958905"/>
            <a:ext cx="4627066" cy="12827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E765E16-BEC1-4450-9FA4-16AAC425D6F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71"/>
          <a:stretch/>
        </p:blipFill>
        <p:spPr>
          <a:xfrm>
            <a:off x="4064953" y="3564923"/>
            <a:ext cx="4457929" cy="11420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CC07066-C383-41B1-A5D4-A06A336E9BB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031" y="4872498"/>
            <a:ext cx="1457813" cy="268676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3295A543-7D43-41D4-B5B6-BA54A3762DED}"/>
              </a:ext>
            </a:extLst>
          </p:cNvPr>
          <p:cNvSpPr txBox="1"/>
          <p:nvPr/>
        </p:nvSpPr>
        <p:spPr>
          <a:xfrm>
            <a:off x="4129055" y="1741382"/>
            <a:ext cx="3628864" cy="112047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91440" rIns="91440" bIns="91440" rtlCol="0" anchor="t">
            <a:noAutofit/>
          </a:bodyPr>
          <a:lstStyle/>
          <a:p>
            <a:pPr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</a:rPr>
              <a:t>VAs calibrated based on 40 child deaths from CHAMPS Mozambique</a:t>
            </a:r>
            <a:endParaRPr lang="en-US" sz="1600">
              <a:solidFill>
                <a:schemeClr val="accent6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384608E-63B2-4695-9BCE-7EE1DBFA90DF}"/>
              </a:ext>
            </a:extLst>
          </p:cNvPr>
          <p:cNvSpPr txBox="1"/>
          <p:nvPr/>
        </p:nvSpPr>
        <p:spPr>
          <a:xfrm>
            <a:off x="4155062" y="3350967"/>
            <a:ext cx="3628864" cy="144625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91440" rIns="91440" bIns="91440" rtlCol="0" anchor="t">
            <a:noAutofit/>
          </a:bodyPr>
          <a:lstStyle/>
          <a:p>
            <a:pPr>
              <a:defRPr/>
            </a:pP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</a:rPr>
              <a:t>VAs </a:t>
            </a:r>
            <a:r>
              <a:rPr lang="en-US" sz="900" i="1" err="1">
                <a:solidFill>
                  <a:schemeClr val="accent6"/>
                </a:solidFill>
                <a:latin typeface="Arial Narrow" panose="020B0606020202030204" pitchFamily="34" charset="0"/>
                <a:cs typeface="Arial"/>
              </a:rPr>
              <a:t>cal</a:t>
            </a:r>
            <a:r>
              <a:rPr kumimoji="0" lang="en-US" sz="900" b="0" i="1" u="none" strike="noStrike" kern="1200" cap="none" spc="0" normalizeH="0" baseline="0" noProof="0" err="1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</a:rPr>
              <a:t>ibrated</a:t>
            </a:r>
            <a:r>
              <a:rPr kumimoji="0" lang="en-US" sz="900" b="0" i="1" u="none" strike="noStrike" kern="1200" cap="none" spc="0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</a:rPr>
              <a:t> based on 167 child deaths from CHAMPS network</a:t>
            </a:r>
          </a:p>
          <a:p>
            <a:pPr>
              <a:defRPr/>
            </a:pPr>
            <a:endParaRPr lang="en-US" sz="1600">
              <a:solidFill>
                <a:schemeClr val="accent6"/>
              </a:solidFill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0D43D7-C46E-48D7-A8E5-60C6EEE03870}"/>
              </a:ext>
            </a:extLst>
          </p:cNvPr>
          <p:cNvSpPr txBox="1"/>
          <p:nvPr/>
        </p:nvSpPr>
        <p:spPr>
          <a:xfrm>
            <a:off x="5802572" y="3233742"/>
            <a:ext cx="2263057" cy="10547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600">
                <a:solidFill>
                  <a:schemeClr val="accent6"/>
                </a:solidFill>
                <a:latin typeface="Arial"/>
                <a:cs typeface="Arial"/>
              </a:rPr>
              <a:t>Cause-Specific Mortality Fra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9A95071-D49B-491E-A6EE-D19EE2BC27CE}"/>
              </a:ext>
            </a:extLst>
          </p:cNvPr>
          <p:cNvSpPr txBox="1"/>
          <p:nvPr/>
        </p:nvSpPr>
        <p:spPr>
          <a:xfrm>
            <a:off x="5847435" y="4711591"/>
            <a:ext cx="2263057" cy="105476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r>
              <a:rPr lang="en-US" sz="600">
                <a:solidFill>
                  <a:schemeClr val="accent6"/>
                </a:solidFill>
                <a:latin typeface="Arial"/>
                <a:cs typeface="Arial"/>
              </a:rPr>
              <a:t>Cause-Specific Mortality Frac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25574E3-F0CA-4C78-AF34-34A7C0DF32C5}"/>
              </a:ext>
            </a:extLst>
          </p:cNvPr>
          <p:cNvSpPr txBox="1"/>
          <p:nvPr/>
        </p:nvSpPr>
        <p:spPr>
          <a:xfrm rot="16200000">
            <a:off x="3578272" y="2244326"/>
            <a:ext cx="907939" cy="11561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Dens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8FECA4-65F9-4178-B1D3-B6FA3AB40020}"/>
              </a:ext>
            </a:extLst>
          </p:cNvPr>
          <p:cNvSpPr txBox="1"/>
          <p:nvPr/>
        </p:nvSpPr>
        <p:spPr>
          <a:xfrm rot="16200000">
            <a:off x="3675085" y="3819439"/>
            <a:ext cx="907939" cy="11561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r>
              <a:rPr lang="en-US"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Density</a:t>
            </a:r>
          </a:p>
        </p:txBody>
      </p:sp>
    </p:spTree>
    <p:extLst>
      <p:ext uri="{BB962C8B-B14F-4D97-AF65-F5344CB8AC3E}">
        <p14:creationId xmlns:p14="http://schemas.microsoft.com/office/powerpoint/2010/main" val="3655613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13" grpId="0"/>
      <p:bldP spid="14" grpId="0"/>
      <p:bldP spid="16" grpId="0"/>
      <p:bldP spid="21" grpId="0" animBg="1"/>
      <p:bldP spid="24" grpId="0" animBg="1"/>
      <p:bldGraphic spid="25" grpId="0">
        <p:bldAsOne/>
      </p:bldGraphic>
      <p:bldP spid="23" grpId="0" animBg="1"/>
      <p:bldP spid="33" grpId="0"/>
      <p:bldP spid="34" grpId="0" animBg="1"/>
      <p:bldP spid="36" grpId="0" animBg="1"/>
      <p:bldP spid="2" grpId="0"/>
      <p:bldP spid="26" grpId="0"/>
      <p:bldP spid="27" grpId="0" animBg="1"/>
      <p:bldP spid="28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A871C11-D6B6-4323-8EAF-6865ADFBF6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1600" b="1" dirty="0"/>
              <a:t>Special thanks to:</a:t>
            </a:r>
          </a:p>
          <a:p>
            <a:r>
              <a:rPr lang="en-US" b="1" i="1" dirty="0"/>
              <a:t>Mozambique: </a:t>
            </a:r>
            <a:r>
              <a:rPr lang="en-US" i="1" dirty="0"/>
              <a:t>National Institute of Statistics (INE), National Institute of Health (INS), Ministry of Health (MISAU), Ministry of Justice, CISM (Manhica)</a:t>
            </a:r>
          </a:p>
          <a:p>
            <a:r>
              <a:rPr lang="en-US" b="1" i="1" dirty="0"/>
              <a:t>Sierra Leone: </a:t>
            </a:r>
            <a:r>
              <a:rPr lang="en-US" i="1" dirty="0"/>
              <a:t>Statistics Sierra Leone, Ministry of Health and Sanitation, National Civil Registration Authority, CDC Sierra Leone</a:t>
            </a:r>
          </a:p>
          <a:p>
            <a:r>
              <a:rPr lang="en-US" b="1" i="1" dirty="0"/>
              <a:t>Grantees: </a:t>
            </a:r>
            <a:r>
              <a:rPr lang="en-US" i="1" dirty="0"/>
              <a:t>Institute for International Programs – Johns Hopkins University (COMSA Mozambique), Centre for Global Health Research (COMSA Sierra Leone)</a:t>
            </a:r>
          </a:p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20F327-1C2E-4F3F-9AEF-8F20A9451B6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857E36-7DC8-47E8-AE4B-2BFBD96CC97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87278E8-C4A0-482C-BCB0-118D3B1A85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1024711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val 11"/>
          <p:cNvSpPr/>
          <p:nvPr/>
        </p:nvSpPr>
        <p:spPr>
          <a:xfrm>
            <a:off x="3192520" y="1493829"/>
            <a:ext cx="2758964" cy="2758962"/>
          </a:xfrm>
          <a:prstGeom prst="ellipse">
            <a:avLst/>
          </a:prstGeom>
          <a:solidFill>
            <a:schemeClr val="tx2"/>
          </a:solidFill>
          <a:ln w="1270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35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DD955-8A8E-4F7E-B92D-B6AADDF883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73C393-5B96-4CE7-A7EA-D16024005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84633"/>
            <a:ext cx="9143999" cy="523183"/>
          </a:xfrm>
        </p:spPr>
        <p:txBody>
          <a:bodyPr>
            <a:normAutofit/>
          </a:bodyPr>
          <a:lstStyle/>
          <a:p>
            <a:pPr algn="ctr"/>
            <a:r>
              <a:rPr lang="en-US" sz="3000" b="1" dirty="0"/>
              <a:t>CHAMPS &amp; COMSA</a:t>
            </a:r>
          </a:p>
        </p:txBody>
      </p:sp>
      <p:sp>
        <p:nvSpPr>
          <p:cNvPr id="7" name="Rectangle 6"/>
          <p:cNvSpPr/>
          <p:nvPr/>
        </p:nvSpPr>
        <p:spPr>
          <a:xfrm>
            <a:off x="3639716" y="2139137"/>
            <a:ext cx="1864614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Precise &amp; 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Scalable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Mortality 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Surveillance</a:t>
            </a:r>
          </a:p>
        </p:txBody>
      </p:sp>
      <p:sp>
        <p:nvSpPr>
          <p:cNvPr id="8" name="ee4pContent2"/>
          <p:cNvSpPr txBox="1"/>
          <p:nvPr>
            <p:custDataLst>
              <p:tags r:id="rId3"/>
            </p:custDataLst>
          </p:nvPr>
        </p:nvSpPr>
        <p:spPr>
          <a:xfrm>
            <a:off x="528739" y="1766402"/>
            <a:ext cx="2263166" cy="180049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/>
            <a:r>
              <a:rPr lang="en-US" sz="2100" dirty="0">
                <a:solidFill>
                  <a:schemeClr val="tx1"/>
                </a:solidFill>
                <a:latin typeface="+mj-lt"/>
              </a:rPr>
              <a:t>CHAMP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+mj-lt"/>
              </a:rPr>
              <a:t>Child Health and Mortality Prevention Surveillance</a:t>
            </a:r>
          </a:p>
          <a:p>
            <a:endParaRPr lang="en-US" sz="21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</a:rPr>
              <a:t>High-precision cause of death identification</a:t>
            </a:r>
            <a:endParaRPr lang="en-US" sz="10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10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  <a:latin typeface="+mj-lt"/>
              </a:rPr>
              <a:t>Fine-grained data on causes of death among children under five, supported by analyzing samples collected using the Minimally Invasive Tissue Sampling (MITS) procedure.</a:t>
            </a:r>
          </a:p>
        </p:txBody>
      </p:sp>
      <p:sp>
        <p:nvSpPr>
          <p:cNvPr id="9" name="ee4pContent2"/>
          <p:cNvSpPr txBox="1"/>
          <p:nvPr>
            <p:custDataLst>
              <p:tags r:id="rId4"/>
            </p:custDataLst>
          </p:nvPr>
        </p:nvSpPr>
        <p:spPr>
          <a:xfrm>
            <a:off x="6415833" y="1816829"/>
            <a:ext cx="2263166" cy="180049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/>
            <a:r>
              <a:rPr lang="en-US" sz="2100" dirty="0">
                <a:solidFill>
                  <a:schemeClr val="tx1"/>
                </a:solidFill>
                <a:latin typeface="+mj-lt"/>
              </a:rPr>
              <a:t>COMSA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+mj-lt"/>
              </a:rPr>
              <a:t>Countrywide Mortality Surveillance for Action</a:t>
            </a:r>
          </a:p>
          <a:p>
            <a:endParaRPr lang="en-US" sz="21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</a:rPr>
              <a:t>Representative sample to provide high quality information on births and deaths</a:t>
            </a:r>
          </a:p>
          <a:p>
            <a:pPr algn="ctr"/>
            <a:endParaRPr lang="en-US" sz="10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  <a:latin typeface="+mj-lt"/>
              </a:rPr>
              <a:t>A robust sample registration system that captures the data that allows for calculation of mortality rates, birth rates, and cause-specific mortality fractions at the national and sub-national levels.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5384" y="2666648"/>
            <a:ext cx="2947407" cy="0"/>
          </a:xfrm>
          <a:prstGeom prst="line">
            <a:avLst/>
          </a:prstGeom>
          <a:ln w="19050" cmpd="sng">
            <a:solidFill>
              <a:schemeClr val="bg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196593" y="2717075"/>
            <a:ext cx="2947407" cy="0"/>
          </a:xfrm>
          <a:prstGeom prst="line">
            <a:avLst/>
          </a:prstGeom>
          <a:ln w="19050" cmpd="sng">
            <a:solidFill>
              <a:schemeClr val="bg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902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934338" y="4953485"/>
            <a:ext cx="844062" cy="15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783"/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Confidentia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-1195"/>
            <a:ext cx="9144000" cy="101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10" dirty="0">
              <a:solidFill>
                <a:srgbClr val="FFFFFF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8519726" y="4895518"/>
            <a:ext cx="190083" cy="155598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4" y="205373"/>
            <a:ext cx="8329613" cy="523183"/>
          </a:xfrm>
        </p:spPr>
        <p:txBody>
          <a:bodyPr>
            <a:normAutofit fontScale="90000"/>
          </a:bodyPr>
          <a:lstStyle/>
          <a:p>
            <a:r>
              <a:rPr lang="en-US" sz="2000" dirty="0"/>
              <a:t>The child health and mortality prevention surveillance (champs) network</a:t>
            </a:r>
          </a:p>
        </p:txBody>
      </p:sp>
      <p:sp>
        <p:nvSpPr>
          <p:cNvPr id="339" name="Slide Number Placeholder 3"/>
          <p:cNvSpPr txBox="1">
            <a:spLocks/>
          </p:cNvSpPr>
          <p:nvPr/>
        </p:nvSpPr>
        <p:spPr>
          <a:xfrm>
            <a:off x="7595919" y="4644112"/>
            <a:ext cx="169258" cy="13855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6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F7C509-FEEF-45D3-B896-7C07814C0C13}" type="slidenum">
              <a:rPr lang="en-US" sz="500">
                <a:solidFill>
                  <a:srgbClr val="000000"/>
                </a:solidFill>
              </a:rPr>
              <a:pPr/>
              <a:t>3</a:t>
            </a:fld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347" name="Rectangle 346"/>
          <p:cNvSpPr/>
          <p:nvPr/>
        </p:nvSpPr>
        <p:spPr>
          <a:xfrm>
            <a:off x="5896798" y="1078563"/>
            <a:ext cx="3113778" cy="3447098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ovides </a:t>
            </a:r>
            <a:r>
              <a:rPr lang="en-US" sz="12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curate, timely and reliable data </a:t>
            </a:r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n the causes of death for children under five</a:t>
            </a:r>
          </a:p>
          <a:p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r>
              <a:rPr lang="en-US" sz="12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llects Minimally Invasive Tissue Samples</a:t>
            </a:r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(MITS), verbal autopsies, and medical records within a CHAMPS site</a:t>
            </a:r>
          </a:p>
          <a:p>
            <a:endParaRPr lang="en-US" sz="12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2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anel of specialists reviews </a:t>
            </a:r>
            <a:r>
              <a:rPr lang="en-US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MITS and all available </a:t>
            </a:r>
            <a:r>
              <a:rPr lang="en-US" sz="12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formation </a:t>
            </a:r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 each CHAMPS case and determines the most likely cause of death</a:t>
            </a:r>
          </a:p>
          <a:p>
            <a:endParaRPr lang="en-US" sz="12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2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TS data provide a more accurate and specific cause of death </a:t>
            </a:r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an would otherwise be available</a:t>
            </a:r>
          </a:p>
          <a:p>
            <a:endParaRPr lang="en-US" sz="12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HAMPS </a:t>
            </a:r>
            <a:r>
              <a:rPr lang="en-US" sz="12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ata are made available rapidly </a:t>
            </a:r>
            <a:r>
              <a:rPr lang="en-U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d shared openly with a range of stakeholders</a:t>
            </a:r>
            <a:endParaRPr lang="en-US" sz="1200" dirty="0">
              <a:cs typeface="Calibri" panose="020F0502020204030204" pitchFamily="34" charset="0"/>
            </a:endParaRPr>
          </a:p>
          <a:p>
            <a:pPr marL="3175" lvl="1"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</a:pPr>
            <a:endParaRPr lang="en-US" sz="1400" dirty="0">
              <a:solidFill>
                <a:srgbClr val="000000"/>
              </a:solidFill>
              <a:latin typeface="Arial "/>
              <a:cs typeface="Calibri" panose="020F05020202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6E8AE6-D188-481E-855F-430181273703}"/>
              </a:ext>
            </a:extLst>
          </p:cNvPr>
          <p:cNvSpPr txBox="1"/>
          <p:nvPr/>
        </p:nvSpPr>
        <p:spPr>
          <a:xfrm>
            <a:off x="7654636" y="4696687"/>
            <a:ext cx="169258" cy="1385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lang="en-US" sz="140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B615D0F-A47A-466F-9739-716D9C684A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54623"/>
            <a:ext cx="5838081" cy="371526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271B7F2-97A4-4C3C-BC7A-C9025C57D28A}"/>
              </a:ext>
            </a:extLst>
          </p:cNvPr>
          <p:cNvSpPr/>
          <p:nvPr/>
        </p:nvSpPr>
        <p:spPr>
          <a:xfrm>
            <a:off x="5623564" y="2693774"/>
            <a:ext cx="348868" cy="3954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6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E65ED839-35EE-49B5-98E5-D698C75DE5E0}"/>
              </a:ext>
            </a:extLst>
          </p:cNvPr>
          <p:cNvGrpSpPr/>
          <p:nvPr/>
        </p:nvGrpSpPr>
        <p:grpSpPr>
          <a:xfrm>
            <a:off x="182559" y="1087059"/>
            <a:ext cx="6734611" cy="2351961"/>
            <a:chOff x="182559" y="1087059"/>
            <a:chExt cx="6734611" cy="2351961"/>
          </a:xfrm>
        </p:grpSpPr>
        <p:pic>
          <p:nvPicPr>
            <p:cNvPr id="29" name="Picture 4" descr="http://cdn.flaticon.com/png/256/45987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71992" y="1120419"/>
              <a:ext cx="701534" cy="7015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6" descr="https://tse1.mm.bing.net/th?&amp;id=JN.MtZ858IqSV0uPm4DryCH9A&amp;w=300&amp;h=300&amp;c=0&amp;pid=1.9&amp;rs=0&amp;p=0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8577" y="1229197"/>
              <a:ext cx="801024" cy="592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510477" y="1958695"/>
              <a:ext cx="490519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Brain 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030398" y="1958695"/>
              <a:ext cx="423193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Lung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340411" y="1958695"/>
              <a:ext cx="490519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Heart 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4791539" y="1955343"/>
              <a:ext cx="413575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Liver</a:t>
              </a:r>
            </a:p>
          </p:txBody>
        </p:sp>
        <p:pic>
          <p:nvPicPr>
            <p:cNvPr id="35" name="Picture 2" descr="https://tse1.mm.bing.net/th?&amp;id=JN.CGGmUwFr9CmGG5H5ykzHLA&amp;w=300&amp;h=300&amp;c=0&amp;pid=1.9&amp;rs=0&amp;p=0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8893" y="1117900"/>
              <a:ext cx="554316" cy="7524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8" descr="https://tse1.mm.bing.net/th?&amp;id=JN.byOVfBZITvJyM1bCYrhURw&amp;w=300&amp;h=300&amp;c=0&amp;pid=1.9&amp;rs=0&amp;p=0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559" y="1087059"/>
              <a:ext cx="1107881" cy="734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4" descr="https://tse1.mm.bing.net/th?&amp;id=JN.Yl0Xn0OAqp3LLxfU400WVg&amp;w=300&amp;h=300&amp;c=0&amp;pid=1.9&amp;rs=0&amp;p=0&amp;r=0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1664" y="1192578"/>
              <a:ext cx="1040610" cy="665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" name="TextBox 37"/>
            <p:cNvSpPr txBox="1"/>
            <p:nvPr/>
          </p:nvSpPr>
          <p:spPr>
            <a:xfrm>
              <a:off x="5772626" y="1955343"/>
              <a:ext cx="1144544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Bone Marrow </a:t>
              </a:r>
            </a:p>
          </p:txBody>
        </p:sp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2522" y="2349415"/>
              <a:ext cx="623156" cy="589961"/>
            </a:xfrm>
            <a:prstGeom prst="rect">
              <a:avLst/>
            </a:prstGeom>
          </p:spPr>
        </p:pic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32153" y="2247035"/>
              <a:ext cx="880363" cy="880363"/>
            </a:xfrm>
            <a:prstGeom prst="rect">
              <a:avLst/>
            </a:prstGeom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851" t="14986" r="8674" b="10583"/>
            <a:stretch/>
          </p:blipFill>
          <p:spPr>
            <a:xfrm>
              <a:off x="3558990" y="2301077"/>
              <a:ext cx="861969" cy="880352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86262" y="2447105"/>
              <a:ext cx="1332539" cy="558807"/>
            </a:xfrm>
            <a:prstGeom prst="rect">
              <a:avLst/>
            </a:prstGeom>
          </p:spPr>
        </p:pic>
        <p:sp>
          <p:nvSpPr>
            <p:cNvPr id="45" name="TextBox 44"/>
            <p:cNvSpPr txBox="1"/>
            <p:nvPr/>
          </p:nvSpPr>
          <p:spPr>
            <a:xfrm>
              <a:off x="988817" y="3127398"/>
              <a:ext cx="490519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Blood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2399210" y="3181429"/>
              <a:ext cx="346249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CSF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772190" y="3231271"/>
              <a:ext cx="432811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Stool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5260424" y="3231271"/>
              <a:ext cx="1013098" cy="2077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900"/>
                </a:spcBef>
                <a:buSzPct val="25000"/>
              </a:pPr>
              <a:r>
                <a:rPr lang="en-US" sz="1350" b="1" i="1" dirty="0">
                  <a:solidFill>
                    <a:schemeClr val="tx2"/>
                  </a:solidFill>
                </a:rPr>
                <a:t>NP/OP swab</a:t>
              </a:r>
            </a:p>
          </p:txBody>
        </p:sp>
      </p:grpSp>
      <p:graphicFrame>
        <p:nvGraphicFramePr>
          <p:cNvPr id="60" name="Table 59"/>
          <p:cNvGraphicFramePr>
            <a:graphicFrameLocks noGrp="1"/>
          </p:cNvGraphicFramePr>
          <p:nvPr>
            <p:extLst/>
          </p:nvPr>
        </p:nvGraphicFramePr>
        <p:xfrm>
          <a:off x="1274099" y="3824025"/>
          <a:ext cx="4746045" cy="1039882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47460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023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baseline="0" dirty="0">
                          <a:latin typeface="+mj-lt"/>
                        </a:rPr>
                        <a:t>Abdominal approach - s</a:t>
                      </a:r>
                      <a:r>
                        <a:rPr lang="en-US" sz="1200" b="0" dirty="0">
                          <a:latin typeface="+mj-lt"/>
                        </a:rPr>
                        <a:t>pleen</a:t>
                      </a:r>
                      <a:r>
                        <a:rPr lang="en-US" sz="1200" b="0" baseline="0" dirty="0">
                          <a:latin typeface="+mj-lt"/>
                        </a:rPr>
                        <a:t> / kidney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Placenta</a:t>
                      </a:r>
                      <a:r>
                        <a:rPr lang="en-US" sz="1200" baseline="0" dirty="0">
                          <a:latin typeface="+mj-lt"/>
                        </a:rPr>
                        <a:t>, umbilical cord if stillbirth or death immediately following birth</a:t>
                      </a:r>
                      <a:endParaRPr lang="en-US" sz="1200" b="1" dirty="0">
                        <a:latin typeface="+mj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31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+mj-lt"/>
                        </a:rPr>
                        <a:t>Skin</a:t>
                      </a:r>
                      <a:r>
                        <a:rPr lang="en-US" sz="1200" baseline="0" dirty="0">
                          <a:latin typeface="+mj-lt"/>
                        </a:rPr>
                        <a:t> </a:t>
                      </a:r>
                      <a:r>
                        <a:rPr lang="en-US" sz="1200" dirty="0">
                          <a:latin typeface="+mj-lt"/>
                        </a:rPr>
                        <a:t>lesion if present and lymph node if palpable</a:t>
                      </a:r>
                      <a:endParaRPr lang="en-US" sz="1200" b="1" dirty="0">
                        <a:latin typeface="+mj-lt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C78239-5A88-402F-A488-63C531D0712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61525" y="537889"/>
            <a:ext cx="892969" cy="325040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4DE7E5-7B9F-46C5-B62A-8D3E77C2409F}"/>
              </a:ext>
            </a:extLst>
          </p:cNvPr>
          <p:cNvSpPr txBox="1"/>
          <p:nvPr/>
        </p:nvSpPr>
        <p:spPr>
          <a:xfrm>
            <a:off x="7359903" y="3907687"/>
            <a:ext cx="2018489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50" dirty="0"/>
              <a:t>High MITS consen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3F64E4D-1EC7-4A8F-A52D-DC92222E876E}"/>
              </a:ext>
            </a:extLst>
          </p:cNvPr>
          <p:cNvSpPr/>
          <p:nvPr/>
        </p:nvSpPr>
        <p:spPr>
          <a:xfrm>
            <a:off x="7207900" y="695340"/>
            <a:ext cx="1947156" cy="4200178"/>
          </a:xfrm>
          <a:prstGeom prst="ellipse">
            <a:avLst/>
          </a:prstGeom>
          <a:solidFill>
            <a:srgbClr val="FF0000">
              <a:alpha val="0"/>
            </a:srgbClr>
          </a:solidFill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61" name="Title 2"/>
          <p:cNvSpPr txBox="1">
            <a:spLocks/>
          </p:cNvSpPr>
          <p:nvPr/>
        </p:nvSpPr>
        <p:spPr>
          <a:xfrm>
            <a:off x="284576" y="328510"/>
            <a:ext cx="9093816" cy="35211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    </a:t>
            </a:r>
            <a:r>
              <a:rPr lang="en-US" sz="2250" b="1" dirty="0">
                <a:solidFill>
                  <a:schemeClr val="tx1"/>
                </a:solidFill>
              </a:rPr>
              <a:t>How does Minimally Invasive Tissue Sampling (MITS) work?</a:t>
            </a:r>
          </a:p>
        </p:txBody>
      </p:sp>
    </p:spTree>
    <p:extLst>
      <p:ext uri="{BB962C8B-B14F-4D97-AF65-F5344CB8AC3E}">
        <p14:creationId xmlns:p14="http://schemas.microsoft.com/office/powerpoint/2010/main" val="291169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Click="0"/>
    </mc:Choice>
    <mc:Fallback xmlns="">
      <p:transition spd="slow"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2"/>
          <p:cNvSpPr txBox="1">
            <a:spLocks/>
          </p:cNvSpPr>
          <p:nvPr/>
        </p:nvSpPr>
        <p:spPr>
          <a:xfrm>
            <a:off x="-334327" y="406372"/>
            <a:ext cx="8617432" cy="35211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          CHAMPS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DE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TERMINATION OF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C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AUSE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O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F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DE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ATH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(DECODE) 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PANEL</a:t>
            </a:r>
          </a:p>
          <a:p>
            <a:r>
              <a:rPr lang="en-US" sz="2100" b="1" dirty="0">
                <a:solidFill>
                  <a:srgbClr val="97D700"/>
                </a:solidFill>
              </a:rPr>
              <a:t> </a:t>
            </a:r>
          </a:p>
          <a:p>
            <a:endParaRPr lang="en-US" sz="21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6227187" y="1620175"/>
            <a:ext cx="1478906" cy="2482586"/>
          </a:xfrm>
          <a:prstGeom prst="rect">
            <a:avLst/>
          </a:prstGeom>
          <a:solidFill>
            <a:srgbClr val="FF0000">
              <a:alpha val="25000"/>
            </a:srgb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 dirty="0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1171688" y="1330496"/>
            <a:ext cx="2048532" cy="1667204"/>
          </a:xfrm>
          <a:prstGeom prst="rect">
            <a:avLst/>
          </a:prstGeom>
          <a:solidFill>
            <a:schemeClr val="accent3">
              <a:lumMod val="20000"/>
              <a:lumOff val="80000"/>
              <a:alpha val="25000"/>
            </a:schemeClr>
          </a:solidFill>
          <a:ln w="19050" algn="ctr">
            <a:solidFill>
              <a:srgbClr val="00B0F0"/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 dirty="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42632" y="1484586"/>
            <a:ext cx="1873017" cy="12748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38"/>
              </a:spcBef>
              <a:buSzPct val="100000"/>
            </a:pPr>
            <a:r>
              <a:rPr lang="en-US" sz="1125" b="1" dirty="0">
                <a:solidFill>
                  <a:srgbClr val="313131"/>
                </a:solidFill>
              </a:rPr>
              <a:t>Data from site</a:t>
            </a:r>
            <a:endParaRPr lang="en-US" sz="1125" dirty="0">
              <a:solidFill>
                <a:srgbClr val="313131"/>
              </a:solidFill>
            </a:endParaRP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Linked maternal data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Demographic and clinical data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Verbal autopsy cause of death and raw data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Microbiology, molecular biology (TAC), HIV, TB, malaria findings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Site histopathology findings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1171688" y="3151790"/>
            <a:ext cx="2048532" cy="1087447"/>
          </a:xfrm>
          <a:prstGeom prst="rect">
            <a:avLst/>
          </a:prstGeom>
          <a:solidFill>
            <a:schemeClr val="accent2">
              <a:lumMod val="40000"/>
              <a:lumOff val="60000"/>
              <a:alpha val="25000"/>
            </a:schemeClr>
          </a:solidFill>
          <a:ln w="19050" algn="ctr">
            <a:solidFill>
              <a:srgbClr val="97D700"/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 dirty="0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242634" y="3237139"/>
            <a:ext cx="2252498" cy="846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38"/>
              </a:spcBef>
              <a:buSzPct val="100000"/>
            </a:pPr>
            <a:r>
              <a:rPr lang="en-US" sz="1125" b="1" dirty="0">
                <a:solidFill>
                  <a:srgbClr val="313131"/>
                </a:solidFill>
              </a:rPr>
              <a:t>Central Pathology Lab (CPL)</a:t>
            </a:r>
            <a:endParaRPr lang="en-US" sz="1125" dirty="0">
              <a:solidFill>
                <a:srgbClr val="313131"/>
              </a:solidFill>
            </a:endParaRP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CPL histopathology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Special stains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Immunohistochemistry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PCR findings</a:t>
            </a:r>
          </a:p>
        </p:txBody>
      </p:sp>
      <p:cxnSp>
        <p:nvCxnSpPr>
          <p:cNvPr id="28" name="Elbow Connector 27"/>
          <p:cNvCxnSpPr/>
          <p:nvPr/>
        </p:nvCxnSpPr>
        <p:spPr>
          <a:xfrm>
            <a:off x="3200843" y="1842908"/>
            <a:ext cx="7144" cy="1531414"/>
          </a:xfrm>
          <a:prstGeom prst="bentConnector3">
            <a:avLst>
              <a:gd name="adj1" fmla="val 1800000"/>
            </a:avLst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 bwMode="gray">
          <a:xfrm>
            <a:off x="4209891" y="1583082"/>
            <a:ext cx="1080632" cy="2447961"/>
          </a:xfrm>
          <a:prstGeom prst="rect">
            <a:avLst/>
          </a:prstGeom>
          <a:solidFill>
            <a:schemeClr val="accent6">
              <a:lumMod val="20000"/>
              <a:lumOff val="80000"/>
              <a:alpha val="25000"/>
            </a:schemeClr>
          </a:solidFill>
          <a:ln w="19050" algn="ctr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 dirty="0">
              <a:solidFill>
                <a:prstClr val="white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241000" y="2447690"/>
            <a:ext cx="880450" cy="9852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38"/>
              </a:spcBef>
              <a:buSzPct val="100000"/>
            </a:pPr>
            <a:r>
              <a:rPr lang="en-US" sz="1013" b="1" dirty="0">
                <a:solidFill>
                  <a:srgbClr val="313131"/>
                </a:solidFill>
              </a:rPr>
              <a:t>Panel Members</a:t>
            </a:r>
            <a:endParaRPr lang="en-US" sz="1013" dirty="0">
              <a:solidFill>
                <a:srgbClr val="313131"/>
              </a:solidFill>
            </a:endParaRP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Clinician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Pathologist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Microbiologist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 dirty="0">
                <a:solidFill>
                  <a:srgbClr val="313131"/>
                </a:solidFill>
              </a:rPr>
              <a:t>Epidemiologis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58461" y="2447692"/>
            <a:ext cx="109343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38"/>
              </a:spcBef>
              <a:buSzPct val="100000"/>
            </a:pPr>
            <a:r>
              <a:rPr lang="en-US" sz="1125" b="1" dirty="0">
                <a:solidFill>
                  <a:srgbClr val="313131"/>
                </a:solidFill>
              </a:rPr>
              <a:t>Panel Causes of Death</a:t>
            </a:r>
          </a:p>
          <a:p>
            <a:pPr algn="ctr">
              <a:spcBef>
                <a:spcPts val="338"/>
              </a:spcBef>
              <a:buSzPct val="100000"/>
            </a:pPr>
            <a:r>
              <a:rPr lang="en-US" sz="900" i="1" dirty="0">
                <a:solidFill>
                  <a:srgbClr val="313131"/>
                </a:solidFill>
              </a:rPr>
              <a:t>Recorded in CHAMPS database, shared with clinicians and family (aggregate results shared with community) </a:t>
            </a:r>
          </a:p>
        </p:txBody>
      </p:sp>
      <p:sp>
        <p:nvSpPr>
          <p:cNvPr id="34" name="Freeform 33"/>
          <p:cNvSpPr>
            <a:spLocks noChangeAspect="1" noEditPoints="1"/>
          </p:cNvSpPr>
          <p:nvPr/>
        </p:nvSpPr>
        <p:spPr bwMode="auto">
          <a:xfrm>
            <a:off x="2837900" y="3744508"/>
            <a:ext cx="277749" cy="255610"/>
          </a:xfrm>
          <a:custGeom>
            <a:avLst/>
            <a:gdLst>
              <a:gd name="T0" fmla="*/ 2438 w 3891"/>
              <a:gd name="T1" fmla="*/ 2193 h 4142"/>
              <a:gd name="T2" fmla="*/ 2284 w 3891"/>
              <a:gd name="T3" fmla="*/ 2280 h 4142"/>
              <a:gd name="T4" fmla="*/ 1859 w 3891"/>
              <a:gd name="T5" fmla="*/ 2412 h 4142"/>
              <a:gd name="T6" fmla="*/ 1824 w 3891"/>
              <a:gd name="T7" fmla="*/ 2246 h 4142"/>
              <a:gd name="T8" fmla="*/ 1605 w 3891"/>
              <a:gd name="T9" fmla="*/ 2028 h 4142"/>
              <a:gd name="T10" fmla="*/ 1417 w 3891"/>
              <a:gd name="T11" fmla="*/ 1999 h 4142"/>
              <a:gd name="T12" fmla="*/ 1571 w 3891"/>
              <a:gd name="T13" fmla="*/ 1569 h 4142"/>
              <a:gd name="T14" fmla="*/ 1658 w 3891"/>
              <a:gd name="T15" fmla="*/ 1414 h 4142"/>
              <a:gd name="T16" fmla="*/ 3891 w 3891"/>
              <a:gd name="T17" fmla="*/ 437 h 4142"/>
              <a:gd name="T18" fmla="*/ 3571 w 3891"/>
              <a:gd name="T19" fmla="*/ 988 h 4142"/>
              <a:gd name="T20" fmla="*/ 3268 w 3891"/>
              <a:gd name="T21" fmla="*/ 1686 h 4142"/>
              <a:gd name="T22" fmla="*/ 3414 w 3891"/>
              <a:gd name="T23" fmla="*/ 1873 h 4142"/>
              <a:gd name="T24" fmla="*/ 3514 w 3891"/>
              <a:gd name="T25" fmla="*/ 2091 h 4142"/>
              <a:gd name="T26" fmla="*/ 3563 w 3891"/>
              <a:gd name="T27" fmla="*/ 2333 h 4142"/>
              <a:gd name="T28" fmla="*/ 3551 w 3891"/>
              <a:gd name="T29" fmla="*/ 2592 h 4142"/>
              <a:gd name="T30" fmla="*/ 3480 w 3891"/>
              <a:gd name="T31" fmla="*/ 2835 h 4142"/>
              <a:gd name="T32" fmla="*/ 3354 w 3891"/>
              <a:gd name="T33" fmla="*/ 3050 h 4142"/>
              <a:gd name="T34" fmla="*/ 3182 w 3891"/>
              <a:gd name="T35" fmla="*/ 3227 h 4142"/>
              <a:gd name="T36" fmla="*/ 2972 w 3891"/>
              <a:gd name="T37" fmla="*/ 3362 h 4142"/>
              <a:gd name="T38" fmla="*/ 2981 w 3891"/>
              <a:gd name="T39" fmla="*/ 3539 h 4142"/>
              <a:gd name="T40" fmla="*/ 2928 w 3891"/>
              <a:gd name="T41" fmla="*/ 3718 h 4142"/>
              <a:gd name="T42" fmla="*/ 2822 w 3891"/>
              <a:gd name="T43" fmla="*/ 3868 h 4142"/>
              <a:gd name="T44" fmla="*/ 2878 w 3891"/>
              <a:gd name="T45" fmla="*/ 3933 h 4142"/>
              <a:gd name="T46" fmla="*/ 2887 w 3891"/>
              <a:gd name="T47" fmla="*/ 4022 h 4142"/>
              <a:gd name="T48" fmla="*/ 2845 w 3891"/>
              <a:gd name="T49" fmla="*/ 4098 h 4142"/>
              <a:gd name="T50" fmla="*/ 2770 w 3891"/>
              <a:gd name="T51" fmla="*/ 4139 h 4142"/>
              <a:gd name="T52" fmla="*/ 120 w 3891"/>
              <a:gd name="T53" fmla="*/ 4139 h 4142"/>
              <a:gd name="T54" fmla="*/ 43 w 3891"/>
              <a:gd name="T55" fmla="*/ 4098 h 4142"/>
              <a:gd name="T56" fmla="*/ 3 w 3891"/>
              <a:gd name="T57" fmla="*/ 4022 h 4142"/>
              <a:gd name="T58" fmla="*/ 11 w 3891"/>
              <a:gd name="T59" fmla="*/ 3933 h 4142"/>
              <a:gd name="T60" fmla="*/ 65 w 3891"/>
              <a:gd name="T61" fmla="*/ 3868 h 4142"/>
              <a:gd name="T62" fmla="*/ 150 w 3891"/>
              <a:gd name="T63" fmla="*/ 3841 h 4142"/>
              <a:gd name="T64" fmla="*/ 534 w 3891"/>
              <a:gd name="T65" fmla="*/ 3323 h 4142"/>
              <a:gd name="T66" fmla="*/ 415 w 3891"/>
              <a:gd name="T67" fmla="*/ 3191 h 4142"/>
              <a:gd name="T68" fmla="*/ 346 w 3891"/>
              <a:gd name="T69" fmla="*/ 3032 h 4142"/>
              <a:gd name="T70" fmla="*/ 329 w 3891"/>
              <a:gd name="T71" fmla="*/ 2864 h 4142"/>
              <a:gd name="T72" fmla="*/ 363 w 3891"/>
              <a:gd name="T73" fmla="*/ 2696 h 4142"/>
              <a:gd name="T74" fmla="*/ 449 w 3891"/>
              <a:gd name="T75" fmla="*/ 2544 h 4142"/>
              <a:gd name="T76" fmla="*/ 1231 w 3891"/>
              <a:gd name="T77" fmla="*/ 3323 h 4142"/>
              <a:gd name="T78" fmla="*/ 1084 w 3891"/>
              <a:gd name="T79" fmla="*/ 3408 h 4142"/>
              <a:gd name="T80" fmla="*/ 921 w 3891"/>
              <a:gd name="T81" fmla="*/ 3445 h 4142"/>
              <a:gd name="T82" fmla="*/ 812 w 3891"/>
              <a:gd name="T83" fmla="*/ 3841 h 4142"/>
              <a:gd name="T84" fmla="*/ 1935 w 3891"/>
              <a:gd name="T85" fmla="*/ 3751 h 4142"/>
              <a:gd name="T86" fmla="*/ 1874 w 3891"/>
              <a:gd name="T87" fmla="*/ 3591 h 4142"/>
              <a:gd name="T88" fmla="*/ 1866 w 3891"/>
              <a:gd name="T89" fmla="*/ 3408 h 4142"/>
              <a:gd name="T90" fmla="*/ 1920 w 3891"/>
              <a:gd name="T91" fmla="*/ 3226 h 4142"/>
              <a:gd name="T92" fmla="*/ 846 w 3891"/>
              <a:gd name="T93" fmla="*/ 1743 h 4142"/>
              <a:gd name="T94" fmla="*/ 2207 w 3891"/>
              <a:gd name="T95" fmla="*/ 2957 h 4142"/>
              <a:gd name="T96" fmla="*/ 2367 w 3891"/>
              <a:gd name="T97" fmla="*/ 2917 h 4142"/>
              <a:gd name="T98" fmla="*/ 2542 w 3891"/>
              <a:gd name="T99" fmla="*/ 2927 h 4142"/>
              <a:gd name="T100" fmla="*/ 2703 w 3891"/>
              <a:gd name="T101" fmla="*/ 2988 h 4142"/>
              <a:gd name="T102" fmla="*/ 2835 w 3891"/>
              <a:gd name="T103" fmla="*/ 3094 h 4142"/>
              <a:gd name="T104" fmla="*/ 3009 w 3891"/>
              <a:gd name="T105" fmla="*/ 2979 h 4142"/>
              <a:gd name="T106" fmla="*/ 3146 w 3891"/>
              <a:gd name="T107" fmla="*/ 2823 h 4142"/>
              <a:gd name="T108" fmla="*/ 3234 w 3891"/>
              <a:gd name="T109" fmla="*/ 2632 h 4142"/>
              <a:gd name="T110" fmla="*/ 3266 w 3891"/>
              <a:gd name="T111" fmla="*/ 2417 h 4142"/>
              <a:gd name="T112" fmla="*/ 3233 w 3891"/>
              <a:gd name="T113" fmla="*/ 2197 h 4142"/>
              <a:gd name="T114" fmla="*/ 3140 w 3891"/>
              <a:gd name="T115" fmla="*/ 2002 h 4142"/>
              <a:gd name="T116" fmla="*/ 2996 w 3891"/>
              <a:gd name="T117" fmla="*/ 1843 h 4142"/>
              <a:gd name="T118" fmla="*/ 2758 w 3891"/>
              <a:gd name="T119" fmla="*/ 175 h 4142"/>
              <a:gd name="T120" fmla="*/ 3252 w 3891"/>
              <a:gd name="T121" fmla="*/ 203 h 4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891" h="4142">
                <a:moveTo>
                  <a:pt x="1699" y="1368"/>
                </a:moveTo>
                <a:lnTo>
                  <a:pt x="2484" y="2153"/>
                </a:lnTo>
                <a:lnTo>
                  <a:pt x="2438" y="2193"/>
                </a:lnTo>
                <a:lnTo>
                  <a:pt x="2389" y="2228"/>
                </a:lnTo>
                <a:lnTo>
                  <a:pt x="2338" y="2257"/>
                </a:lnTo>
                <a:lnTo>
                  <a:pt x="2284" y="2280"/>
                </a:lnTo>
                <a:lnTo>
                  <a:pt x="2227" y="2298"/>
                </a:lnTo>
                <a:lnTo>
                  <a:pt x="2151" y="2514"/>
                </a:lnTo>
                <a:lnTo>
                  <a:pt x="1859" y="2412"/>
                </a:lnTo>
                <a:lnTo>
                  <a:pt x="1906" y="2282"/>
                </a:lnTo>
                <a:lnTo>
                  <a:pt x="1864" y="2266"/>
                </a:lnTo>
                <a:lnTo>
                  <a:pt x="1824" y="2246"/>
                </a:lnTo>
                <a:lnTo>
                  <a:pt x="1686" y="2384"/>
                </a:lnTo>
                <a:lnTo>
                  <a:pt x="1467" y="2167"/>
                </a:lnTo>
                <a:lnTo>
                  <a:pt x="1605" y="2028"/>
                </a:lnTo>
                <a:lnTo>
                  <a:pt x="1585" y="1987"/>
                </a:lnTo>
                <a:lnTo>
                  <a:pt x="1569" y="1945"/>
                </a:lnTo>
                <a:lnTo>
                  <a:pt x="1417" y="1999"/>
                </a:lnTo>
                <a:lnTo>
                  <a:pt x="1316" y="1707"/>
                </a:lnTo>
                <a:lnTo>
                  <a:pt x="1553" y="1624"/>
                </a:lnTo>
                <a:lnTo>
                  <a:pt x="1571" y="1569"/>
                </a:lnTo>
                <a:lnTo>
                  <a:pt x="1594" y="1515"/>
                </a:lnTo>
                <a:lnTo>
                  <a:pt x="1623" y="1463"/>
                </a:lnTo>
                <a:lnTo>
                  <a:pt x="1658" y="1414"/>
                </a:lnTo>
                <a:lnTo>
                  <a:pt x="1699" y="1368"/>
                </a:lnTo>
                <a:close/>
                <a:moveTo>
                  <a:pt x="3456" y="0"/>
                </a:moveTo>
                <a:lnTo>
                  <a:pt x="3891" y="437"/>
                </a:lnTo>
                <a:lnTo>
                  <a:pt x="3687" y="639"/>
                </a:lnTo>
                <a:lnTo>
                  <a:pt x="3804" y="756"/>
                </a:lnTo>
                <a:lnTo>
                  <a:pt x="3571" y="988"/>
                </a:lnTo>
                <a:lnTo>
                  <a:pt x="3717" y="1134"/>
                </a:lnTo>
                <a:lnTo>
                  <a:pt x="3211" y="1632"/>
                </a:lnTo>
                <a:lnTo>
                  <a:pt x="3268" y="1686"/>
                </a:lnTo>
                <a:lnTo>
                  <a:pt x="3321" y="1745"/>
                </a:lnTo>
                <a:lnTo>
                  <a:pt x="3370" y="1808"/>
                </a:lnTo>
                <a:lnTo>
                  <a:pt x="3414" y="1873"/>
                </a:lnTo>
                <a:lnTo>
                  <a:pt x="3453" y="1944"/>
                </a:lnTo>
                <a:lnTo>
                  <a:pt x="3486" y="2016"/>
                </a:lnTo>
                <a:lnTo>
                  <a:pt x="3514" y="2091"/>
                </a:lnTo>
                <a:lnTo>
                  <a:pt x="3536" y="2170"/>
                </a:lnTo>
                <a:lnTo>
                  <a:pt x="3553" y="2251"/>
                </a:lnTo>
                <a:lnTo>
                  <a:pt x="3563" y="2333"/>
                </a:lnTo>
                <a:lnTo>
                  <a:pt x="3566" y="2417"/>
                </a:lnTo>
                <a:lnTo>
                  <a:pt x="3563" y="2505"/>
                </a:lnTo>
                <a:lnTo>
                  <a:pt x="3551" y="2592"/>
                </a:lnTo>
                <a:lnTo>
                  <a:pt x="3534" y="2675"/>
                </a:lnTo>
                <a:lnTo>
                  <a:pt x="3510" y="2757"/>
                </a:lnTo>
                <a:lnTo>
                  <a:pt x="3480" y="2835"/>
                </a:lnTo>
                <a:lnTo>
                  <a:pt x="3443" y="2910"/>
                </a:lnTo>
                <a:lnTo>
                  <a:pt x="3401" y="2982"/>
                </a:lnTo>
                <a:lnTo>
                  <a:pt x="3354" y="3050"/>
                </a:lnTo>
                <a:lnTo>
                  <a:pt x="3301" y="3113"/>
                </a:lnTo>
                <a:lnTo>
                  <a:pt x="3244" y="3173"/>
                </a:lnTo>
                <a:lnTo>
                  <a:pt x="3182" y="3227"/>
                </a:lnTo>
                <a:lnTo>
                  <a:pt x="3116" y="3278"/>
                </a:lnTo>
                <a:lnTo>
                  <a:pt x="3046" y="3323"/>
                </a:lnTo>
                <a:lnTo>
                  <a:pt x="2972" y="3362"/>
                </a:lnTo>
                <a:lnTo>
                  <a:pt x="2981" y="3417"/>
                </a:lnTo>
                <a:lnTo>
                  <a:pt x="2984" y="3474"/>
                </a:lnTo>
                <a:lnTo>
                  <a:pt x="2981" y="3539"/>
                </a:lnTo>
                <a:lnTo>
                  <a:pt x="2970" y="3601"/>
                </a:lnTo>
                <a:lnTo>
                  <a:pt x="2952" y="3661"/>
                </a:lnTo>
                <a:lnTo>
                  <a:pt x="2928" y="3718"/>
                </a:lnTo>
                <a:lnTo>
                  <a:pt x="2898" y="3772"/>
                </a:lnTo>
                <a:lnTo>
                  <a:pt x="2863" y="3821"/>
                </a:lnTo>
                <a:lnTo>
                  <a:pt x="2822" y="3868"/>
                </a:lnTo>
                <a:lnTo>
                  <a:pt x="2845" y="3885"/>
                </a:lnTo>
                <a:lnTo>
                  <a:pt x="2864" y="3908"/>
                </a:lnTo>
                <a:lnTo>
                  <a:pt x="2878" y="3933"/>
                </a:lnTo>
                <a:lnTo>
                  <a:pt x="2887" y="3962"/>
                </a:lnTo>
                <a:lnTo>
                  <a:pt x="2889" y="3992"/>
                </a:lnTo>
                <a:lnTo>
                  <a:pt x="2887" y="4022"/>
                </a:lnTo>
                <a:lnTo>
                  <a:pt x="2878" y="4050"/>
                </a:lnTo>
                <a:lnTo>
                  <a:pt x="2864" y="4075"/>
                </a:lnTo>
                <a:lnTo>
                  <a:pt x="2845" y="4098"/>
                </a:lnTo>
                <a:lnTo>
                  <a:pt x="2824" y="4117"/>
                </a:lnTo>
                <a:lnTo>
                  <a:pt x="2798" y="4131"/>
                </a:lnTo>
                <a:lnTo>
                  <a:pt x="2770" y="4139"/>
                </a:lnTo>
                <a:lnTo>
                  <a:pt x="2739" y="4142"/>
                </a:lnTo>
                <a:lnTo>
                  <a:pt x="150" y="4142"/>
                </a:lnTo>
                <a:lnTo>
                  <a:pt x="120" y="4139"/>
                </a:lnTo>
                <a:lnTo>
                  <a:pt x="91" y="4131"/>
                </a:lnTo>
                <a:lnTo>
                  <a:pt x="65" y="4117"/>
                </a:lnTo>
                <a:lnTo>
                  <a:pt x="43" y="4098"/>
                </a:lnTo>
                <a:lnTo>
                  <a:pt x="25" y="4075"/>
                </a:lnTo>
                <a:lnTo>
                  <a:pt x="11" y="4050"/>
                </a:lnTo>
                <a:lnTo>
                  <a:pt x="3" y="4022"/>
                </a:lnTo>
                <a:lnTo>
                  <a:pt x="0" y="3992"/>
                </a:lnTo>
                <a:lnTo>
                  <a:pt x="3" y="3962"/>
                </a:lnTo>
                <a:lnTo>
                  <a:pt x="11" y="3933"/>
                </a:lnTo>
                <a:lnTo>
                  <a:pt x="25" y="3908"/>
                </a:lnTo>
                <a:lnTo>
                  <a:pt x="43" y="3885"/>
                </a:lnTo>
                <a:lnTo>
                  <a:pt x="65" y="3868"/>
                </a:lnTo>
                <a:lnTo>
                  <a:pt x="91" y="3854"/>
                </a:lnTo>
                <a:lnTo>
                  <a:pt x="120" y="3845"/>
                </a:lnTo>
                <a:lnTo>
                  <a:pt x="150" y="3841"/>
                </a:lnTo>
                <a:lnTo>
                  <a:pt x="582" y="3841"/>
                </a:lnTo>
                <a:lnTo>
                  <a:pt x="582" y="3357"/>
                </a:lnTo>
                <a:lnTo>
                  <a:pt x="534" y="3323"/>
                </a:lnTo>
                <a:lnTo>
                  <a:pt x="490" y="3284"/>
                </a:lnTo>
                <a:lnTo>
                  <a:pt x="449" y="3239"/>
                </a:lnTo>
                <a:lnTo>
                  <a:pt x="415" y="3191"/>
                </a:lnTo>
                <a:lnTo>
                  <a:pt x="386" y="3139"/>
                </a:lnTo>
                <a:lnTo>
                  <a:pt x="363" y="3086"/>
                </a:lnTo>
                <a:lnTo>
                  <a:pt x="346" y="3032"/>
                </a:lnTo>
                <a:lnTo>
                  <a:pt x="334" y="2977"/>
                </a:lnTo>
                <a:lnTo>
                  <a:pt x="329" y="2920"/>
                </a:lnTo>
                <a:lnTo>
                  <a:pt x="329" y="2864"/>
                </a:lnTo>
                <a:lnTo>
                  <a:pt x="334" y="2807"/>
                </a:lnTo>
                <a:lnTo>
                  <a:pt x="346" y="2750"/>
                </a:lnTo>
                <a:lnTo>
                  <a:pt x="363" y="2696"/>
                </a:lnTo>
                <a:lnTo>
                  <a:pt x="386" y="2644"/>
                </a:lnTo>
                <a:lnTo>
                  <a:pt x="415" y="2592"/>
                </a:lnTo>
                <a:lnTo>
                  <a:pt x="449" y="2544"/>
                </a:lnTo>
                <a:lnTo>
                  <a:pt x="490" y="2499"/>
                </a:lnTo>
                <a:lnTo>
                  <a:pt x="1275" y="3284"/>
                </a:lnTo>
                <a:lnTo>
                  <a:pt x="1231" y="3323"/>
                </a:lnTo>
                <a:lnTo>
                  <a:pt x="1185" y="3357"/>
                </a:lnTo>
                <a:lnTo>
                  <a:pt x="1136" y="3386"/>
                </a:lnTo>
                <a:lnTo>
                  <a:pt x="1084" y="3408"/>
                </a:lnTo>
                <a:lnTo>
                  <a:pt x="1031" y="3426"/>
                </a:lnTo>
                <a:lnTo>
                  <a:pt x="977" y="3437"/>
                </a:lnTo>
                <a:lnTo>
                  <a:pt x="921" y="3445"/>
                </a:lnTo>
                <a:lnTo>
                  <a:pt x="866" y="3445"/>
                </a:lnTo>
                <a:lnTo>
                  <a:pt x="812" y="3441"/>
                </a:lnTo>
                <a:lnTo>
                  <a:pt x="812" y="3841"/>
                </a:lnTo>
                <a:lnTo>
                  <a:pt x="2000" y="3841"/>
                </a:lnTo>
                <a:lnTo>
                  <a:pt x="1965" y="3797"/>
                </a:lnTo>
                <a:lnTo>
                  <a:pt x="1935" y="3751"/>
                </a:lnTo>
                <a:lnTo>
                  <a:pt x="1910" y="3700"/>
                </a:lnTo>
                <a:lnTo>
                  <a:pt x="1890" y="3648"/>
                </a:lnTo>
                <a:lnTo>
                  <a:pt x="1874" y="3591"/>
                </a:lnTo>
                <a:lnTo>
                  <a:pt x="1864" y="3534"/>
                </a:lnTo>
                <a:lnTo>
                  <a:pt x="1862" y="3474"/>
                </a:lnTo>
                <a:lnTo>
                  <a:pt x="1866" y="3408"/>
                </a:lnTo>
                <a:lnTo>
                  <a:pt x="1877" y="3346"/>
                </a:lnTo>
                <a:lnTo>
                  <a:pt x="1895" y="3284"/>
                </a:lnTo>
                <a:lnTo>
                  <a:pt x="1920" y="3226"/>
                </a:lnTo>
                <a:lnTo>
                  <a:pt x="1951" y="3172"/>
                </a:lnTo>
                <a:lnTo>
                  <a:pt x="682" y="1905"/>
                </a:lnTo>
                <a:lnTo>
                  <a:pt x="846" y="1743"/>
                </a:lnTo>
                <a:lnTo>
                  <a:pt x="2111" y="3007"/>
                </a:lnTo>
                <a:lnTo>
                  <a:pt x="2158" y="2979"/>
                </a:lnTo>
                <a:lnTo>
                  <a:pt x="2207" y="2957"/>
                </a:lnTo>
                <a:lnTo>
                  <a:pt x="2257" y="2938"/>
                </a:lnTo>
                <a:lnTo>
                  <a:pt x="2311" y="2924"/>
                </a:lnTo>
                <a:lnTo>
                  <a:pt x="2367" y="2917"/>
                </a:lnTo>
                <a:lnTo>
                  <a:pt x="2423" y="2914"/>
                </a:lnTo>
                <a:lnTo>
                  <a:pt x="2484" y="2917"/>
                </a:lnTo>
                <a:lnTo>
                  <a:pt x="2542" y="2927"/>
                </a:lnTo>
                <a:lnTo>
                  <a:pt x="2598" y="2942"/>
                </a:lnTo>
                <a:lnTo>
                  <a:pt x="2651" y="2962"/>
                </a:lnTo>
                <a:lnTo>
                  <a:pt x="2703" y="2988"/>
                </a:lnTo>
                <a:lnTo>
                  <a:pt x="2749" y="3020"/>
                </a:lnTo>
                <a:lnTo>
                  <a:pt x="2795" y="3055"/>
                </a:lnTo>
                <a:lnTo>
                  <a:pt x="2835" y="3094"/>
                </a:lnTo>
                <a:lnTo>
                  <a:pt x="2897" y="3061"/>
                </a:lnTo>
                <a:lnTo>
                  <a:pt x="2955" y="3023"/>
                </a:lnTo>
                <a:lnTo>
                  <a:pt x="3009" y="2979"/>
                </a:lnTo>
                <a:lnTo>
                  <a:pt x="3059" y="2932"/>
                </a:lnTo>
                <a:lnTo>
                  <a:pt x="3104" y="2879"/>
                </a:lnTo>
                <a:lnTo>
                  <a:pt x="3146" y="2823"/>
                </a:lnTo>
                <a:lnTo>
                  <a:pt x="3181" y="2763"/>
                </a:lnTo>
                <a:lnTo>
                  <a:pt x="3210" y="2699"/>
                </a:lnTo>
                <a:lnTo>
                  <a:pt x="3234" y="2632"/>
                </a:lnTo>
                <a:lnTo>
                  <a:pt x="3252" y="2563"/>
                </a:lnTo>
                <a:lnTo>
                  <a:pt x="3262" y="2491"/>
                </a:lnTo>
                <a:lnTo>
                  <a:pt x="3266" y="2417"/>
                </a:lnTo>
                <a:lnTo>
                  <a:pt x="3262" y="2342"/>
                </a:lnTo>
                <a:lnTo>
                  <a:pt x="3250" y="2267"/>
                </a:lnTo>
                <a:lnTo>
                  <a:pt x="3233" y="2197"/>
                </a:lnTo>
                <a:lnTo>
                  <a:pt x="3208" y="2128"/>
                </a:lnTo>
                <a:lnTo>
                  <a:pt x="3176" y="2063"/>
                </a:lnTo>
                <a:lnTo>
                  <a:pt x="3140" y="2002"/>
                </a:lnTo>
                <a:lnTo>
                  <a:pt x="3097" y="1944"/>
                </a:lnTo>
                <a:lnTo>
                  <a:pt x="3049" y="1891"/>
                </a:lnTo>
                <a:lnTo>
                  <a:pt x="2996" y="1843"/>
                </a:lnTo>
                <a:lnTo>
                  <a:pt x="2725" y="2109"/>
                </a:lnTo>
                <a:lnTo>
                  <a:pt x="1766" y="1150"/>
                </a:lnTo>
                <a:lnTo>
                  <a:pt x="2758" y="175"/>
                </a:lnTo>
                <a:lnTo>
                  <a:pt x="2902" y="320"/>
                </a:lnTo>
                <a:lnTo>
                  <a:pt x="3136" y="88"/>
                </a:lnTo>
                <a:lnTo>
                  <a:pt x="3252" y="203"/>
                </a:lnTo>
                <a:lnTo>
                  <a:pt x="3456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endParaRPr lang="en-US" sz="1013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2334" y="2043373"/>
            <a:ext cx="277749" cy="280763"/>
          </a:xfrm>
          <a:prstGeom prst="rect">
            <a:avLst/>
          </a:prstGeom>
        </p:spPr>
      </p:pic>
      <p:sp>
        <p:nvSpPr>
          <p:cNvPr id="37" name="Freeform 5"/>
          <p:cNvSpPr>
            <a:spLocks noChangeAspect="1" noEditPoints="1"/>
          </p:cNvSpPr>
          <p:nvPr/>
        </p:nvSpPr>
        <p:spPr bwMode="auto">
          <a:xfrm>
            <a:off x="4543190" y="2127465"/>
            <a:ext cx="279276" cy="257175"/>
          </a:xfrm>
          <a:custGeom>
            <a:avLst/>
            <a:gdLst>
              <a:gd name="T0" fmla="*/ 630 w 676"/>
              <a:gd name="T1" fmla="*/ 155 h 627"/>
              <a:gd name="T2" fmla="*/ 520 w 676"/>
              <a:gd name="T3" fmla="*/ 160 h 627"/>
              <a:gd name="T4" fmla="*/ 378 w 676"/>
              <a:gd name="T5" fmla="*/ 135 h 627"/>
              <a:gd name="T6" fmla="*/ 299 w 676"/>
              <a:gd name="T7" fmla="*/ 128 h 627"/>
              <a:gd name="T8" fmla="*/ 153 w 676"/>
              <a:gd name="T9" fmla="*/ 171 h 627"/>
              <a:gd name="T10" fmla="*/ 45 w 676"/>
              <a:gd name="T11" fmla="*/ 166 h 627"/>
              <a:gd name="T12" fmla="*/ 0 w 676"/>
              <a:gd name="T13" fmla="*/ 349 h 627"/>
              <a:gd name="T14" fmla="*/ 30 w 676"/>
              <a:gd name="T15" fmla="*/ 349 h 627"/>
              <a:gd name="T16" fmla="*/ 50 w 676"/>
              <a:gd name="T17" fmla="*/ 211 h 627"/>
              <a:gd name="T18" fmla="*/ 81 w 676"/>
              <a:gd name="T19" fmla="*/ 581 h 627"/>
              <a:gd name="T20" fmla="*/ 131 w 676"/>
              <a:gd name="T21" fmla="*/ 541 h 627"/>
              <a:gd name="T22" fmla="*/ 150 w 676"/>
              <a:gd name="T23" fmla="*/ 211 h 627"/>
              <a:gd name="T24" fmla="*/ 165 w 676"/>
              <a:gd name="T25" fmla="*/ 370 h 627"/>
              <a:gd name="T26" fmla="*/ 179 w 676"/>
              <a:gd name="T27" fmla="*/ 187 h 627"/>
              <a:gd name="T28" fmla="*/ 198 w 676"/>
              <a:gd name="T29" fmla="*/ 579 h 627"/>
              <a:gd name="T30" fmla="*/ 271 w 676"/>
              <a:gd name="T31" fmla="*/ 627 h 627"/>
              <a:gd name="T32" fmla="*/ 304 w 676"/>
              <a:gd name="T33" fmla="*/ 187 h 627"/>
              <a:gd name="T34" fmla="*/ 323 w 676"/>
              <a:gd name="T35" fmla="*/ 347 h 627"/>
              <a:gd name="T36" fmla="*/ 350 w 676"/>
              <a:gd name="T37" fmla="*/ 348 h 627"/>
              <a:gd name="T38" fmla="*/ 369 w 676"/>
              <a:gd name="T39" fmla="*/ 196 h 627"/>
              <a:gd name="T40" fmla="*/ 408 w 676"/>
              <a:gd name="T41" fmla="*/ 623 h 627"/>
              <a:gd name="T42" fmla="*/ 479 w 676"/>
              <a:gd name="T43" fmla="*/ 568 h 627"/>
              <a:gd name="T44" fmla="*/ 498 w 676"/>
              <a:gd name="T45" fmla="*/ 196 h 627"/>
              <a:gd name="T46" fmla="*/ 511 w 676"/>
              <a:gd name="T47" fmla="*/ 370 h 627"/>
              <a:gd name="T48" fmla="*/ 528 w 676"/>
              <a:gd name="T49" fmla="*/ 211 h 627"/>
              <a:gd name="T50" fmla="*/ 546 w 676"/>
              <a:gd name="T51" fmla="*/ 529 h 627"/>
              <a:gd name="T52" fmla="*/ 604 w 676"/>
              <a:gd name="T53" fmla="*/ 570 h 627"/>
              <a:gd name="T54" fmla="*/ 628 w 676"/>
              <a:gd name="T55" fmla="*/ 211 h 627"/>
              <a:gd name="T56" fmla="*/ 647 w 676"/>
              <a:gd name="T57" fmla="*/ 352 h 627"/>
              <a:gd name="T58" fmla="*/ 676 w 676"/>
              <a:gd name="T59" fmla="*/ 353 h 627"/>
              <a:gd name="T60" fmla="*/ 630 w 676"/>
              <a:gd name="T61" fmla="*/ 155 h 627"/>
              <a:gd name="T62" fmla="*/ 584 w 676"/>
              <a:gd name="T63" fmla="*/ 135 h 627"/>
              <a:gd name="T64" fmla="*/ 584 w 676"/>
              <a:gd name="T65" fmla="*/ 52 h 627"/>
              <a:gd name="T66" fmla="*/ 584 w 676"/>
              <a:gd name="T67" fmla="*/ 135 h 627"/>
              <a:gd name="T68" fmla="*/ 88 w 676"/>
              <a:gd name="T69" fmla="*/ 147 h 627"/>
              <a:gd name="T70" fmla="*/ 88 w 676"/>
              <a:gd name="T71" fmla="*/ 64 h 627"/>
              <a:gd name="T72" fmla="*/ 88 w 676"/>
              <a:gd name="T73" fmla="*/ 147 h 627"/>
              <a:gd name="T74" fmla="*/ 423 w 676"/>
              <a:gd name="T75" fmla="*/ 115 h 627"/>
              <a:gd name="T76" fmla="*/ 423 w 676"/>
              <a:gd name="T77" fmla="*/ 15 h 627"/>
              <a:gd name="T78" fmla="*/ 423 w 676"/>
              <a:gd name="T79" fmla="*/ 115 h 627"/>
              <a:gd name="T80" fmla="*/ 250 w 676"/>
              <a:gd name="T81" fmla="*/ 100 h 627"/>
              <a:gd name="T82" fmla="*/ 250 w 676"/>
              <a:gd name="T83" fmla="*/ 0 h 627"/>
              <a:gd name="T84" fmla="*/ 250 w 676"/>
              <a:gd name="T85" fmla="*/ 100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76" h="627">
                <a:moveTo>
                  <a:pt x="630" y="155"/>
                </a:moveTo>
                <a:lnTo>
                  <a:pt x="630" y="155"/>
                </a:lnTo>
                <a:lnTo>
                  <a:pt x="538" y="155"/>
                </a:lnTo>
                <a:cubicBezTo>
                  <a:pt x="532" y="155"/>
                  <a:pt x="525" y="157"/>
                  <a:pt x="520" y="160"/>
                </a:cubicBezTo>
                <a:cubicBezTo>
                  <a:pt x="510" y="141"/>
                  <a:pt x="492" y="135"/>
                  <a:pt x="472" y="135"/>
                </a:cubicBezTo>
                <a:lnTo>
                  <a:pt x="378" y="135"/>
                </a:lnTo>
                <a:cubicBezTo>
                  <a:pt x="362" y="135"/>
                  <a:pt x="348" y="135"/>
                  <a:pt x="338" y="148"/>
                </a:cubicBezTo>
                <a:cubicBezTo>
                  <a:pt x="328" y="135"/>
                  <a:pt x="314" y="128"/>
                  <a:pt x="299" y="128"/>
                </a:cubicBezTo>
                <a:lnTo>
                  <a:pt x="204" y="128"/>
                </a:lnTo>
                <a:cubicBezTo>
                  <a:pt x="180" y="128"/>
                  <a:pt x="160" y="146"/>
                  <a:pt x="153" y="171"/>
                </a:cubicBezTo>
                <a:cubicBezTo>
                  <a:pt x="147" y="168"/>
                  <a:pt x="130" y="166"/>
                  <a:pt x="124" y="166"/>
                </a:cubicBezTo>
                <a:lnTo>
                  <a:pt x="45" y="166"/>
                </a:lnTo>
                <a:cubicBezTo>
                  <a:pt x="20" y="166"/>
                  <a:pt x="0" y="190"/>
                  <a:pt x="0" y="220"/>
                </a:cubicBezTo>
                <a:lnTo>
                  <a:pt x="0" y="349"/>
                </a:lnTo>
                <a:cubicBezTo>
                  <a:pt x="0" y="359"/>
                  <a:pt x="2" y="369"/>
                  <a:pt x="15" y="369"/>
                </a:cubicBezTo>
                <a:cubicBezTo>
                  <a:pt x="28" y="369"/>
                  <a:pt x="30" y="359"/>
                  <a:pt x="30" y="349"/>
                </a:cubicBezTo>
                <a:cubicBezTo>
                  <a:pt x="30" y="337"/>
                  <a:pt x="31" y="211"/>
                  <a:pt x="31" y="211"/>
                </a:cubicBezTo>
                <a:lnTo>
                  <a:pt x="50" y="211"/>
                </a:lnTo>
                <a:cubicBezTo>
                  <a:pt x="50" y="211"/>
                  <a:pt x="49" y="530"/>
                  <a:pt x="49" y="546"/>
                </a:cubicBezTo>
                <a:cubicBezTo>
                  <a:pt x="50" y="580"/>
                  <a:pt x="69" y="581"/>
                  <a:pt x="81" y="581"/>
                </a:cubicBezTo>
                <a:lnTo>
                  <a:pt x="101" y="581"/>
                </a:lnTo>
                <a:cubicBezTo>
                  <a:pt x="112" y="581"/>
                  <a:pt x="129" y="580"/>
                  <a:pt x="131" y="541"/>
                </a:cubicBezTo>
                <a:cubicBezTo>
                  <a:pt x="131" y="524"/>
                  <a:pt x="131" y="211"/>
                  <a:pt x="131" y="211"/>
                </a:cubicBezTo>
                <a:lnTo>
                  <a:pt x="150" y="211"/>
                </a:lnTo>
                <a:lnTo>
                  <a:pt x="150" y="353"/>
                </a:lnTo>
                <a:cubicBezTo>
                  <a:pt x="150" y="367"/>
                  <a:pt x="155" y="370"/>
                  <a:pt x="165" y="370"/>
                </a:cubicBezTo>
                <a:cubicBezTo>
                  <a:pt x="175" y="370"/>
                  <a:pt x="180" y="363"/>
                  <a:pt x="180" y="351"/>
                </a:cubicBezTo>
                <a:cubicBezTo>
                  <a:pt x="180" y="344"/>
                  <a:pt x="179" y="187"/>
                  <a:pt x="179" y="187"/>
                </a:cubicBezTo>
                <a:lnTo>
                  <a:pt x="198" y="187"/>
                </a:lnTo>
                <a:cubicBezTo>
                  <a:pt x="198" y="187"/>
                  <a:pt x="198" y="555"/>
                  <a:pt x="198" y="579"/>
                </a:cubicBezTo>
                <a:cubicBezTo>
                  <a:pt x="199" y="620"/>
                  <a:pt x="221" y="627"/>
                  <a:pt x="235" y="627"/>
                </a:cubicBezTo>
                <a:lnTo>
                  <a:pt x="271" y="627"/>
                </a:lnTo>
                <a:cubicBezTo>
                  <a:pt x="285" y="627"/>
                  <a:pt x="303" y="620"/>
                  <a:pt x="305" y="573"/>
                </a:cubicBezTo>
                <a:cubicBezTo>
                  <a:pt x="306" y="554"/>
                  <a:pt x="304" y="187"/>
                  <a:pt x="304" y="187"/>
                </a:cubicBezTo>
                <a:lnTo>
                  <a:pt x="323" y="187"/>
                </a:lnTo>
                <a:lnTo>
                  <a:pt x="323" y="347"/>
                </a:lnTo>
                <a:cubicBezTo>
                  <a:pt x="323" y="363"/>
                  <a:pt x="325" y="369"/>
                  <a:pt x="338" y="369"/>
                </a:cubicBezTo>
                <a:cubicBezTo>
                  <a:pt x="348" y="369"/>
                  <a:pt x="350" y="362"/>
                  <a:pt x="350" y="348"/>
                </a:cubicBezTo>
                <a:cubicBezTo>
                  <a:pt x="350" y="338"/>
                  <a:pt x="351" y="196"/>
                  <a:pt x="351" y="196"/>
                </a:cubicBezTo>
                <a:lnTo>
                  <a:pt x="369" y="196"/>
                </a:lnTo>
                <a:cubicBezTo>
                  <a:pt x="369" y="196"/>
                  <a:pt x="370" y="551"/>
                  <a:pt x="370" y="575"/>
                </a:cubicBezTo>
                <a:cubicBezTo>
                  <a:pt x="371" y="615"/>
                  <a:pt x="395" y="623"/>
                  <a:pt x="408" y="623"/>
                </a:cubicBezTo>
                <a:lnTo>
                  <a:pt x="445" y="623"/>
                </a:lnTo>
                <a:cubicBezTo>
                  <a:pt x="458" y="623"/>
                  <a:pt x="477" y="615"/>
                  <a:pt x="479" y="568"/>
                </a:cubicBezTo>
                <a:cubicBezTo>
                  <a:pt x="480" y="546"/>
                  <a:pt x="479" y="196"/>
                  <a:pt x="479" y="196"/>
                </a:cubicBezTo>
                <a:lnTo>
                  <a:pt x="498" y="196"/>
                </a:lnTo>
                <a:cubicBezTo>
                  <a:pt x="498" y="196"/>
                  <a:pt x="498" y="333"/>
                  <a:pt x="498" y="348"/>
                </a:cubicBezTo>
                <a:cubicBezTo>
                  <a:pt x="498" y="360"/>
                  <a:pt x="501" y="370"/>
                  <a:pt x="511" y="370"/>
                </a:cubicBezTo>
                <a:cubicBezTo>
                  <a:pt x="523" y="370"/>
                  <a:pt x="526" y="365"/>
                  <a:pt x="527" y="354"/>
                </a:cubicBezTo>
                <a:cubicBezTo>
                  <a:pt x="527" y="372"/>
                  <a:pt x="528" y="211"/>
                  <a:pt x="528" y="211"/>
                </a:cubicBezTo>
                <a:lnTo>
                  <a:pt x="546" y="211"/>
                </a:lnTo>
                <a:cubicBezTo>
                  <a:pt x="546" y="211"/>
                  <a:pt x="546" y="524"/>
                  <a:pt x="546" y="529"/>
                </a:cubicBezTo>
                <a:cubicBezTo>
                  <a:pt x="547" y="563"/>
                  <a:pt x="558" y="570"/>
                  <a:pt x="569" y="570"/>
                </a:cubicBezTo>
                <a:lnTo>
                  <a:pt x="604" y="570"/>
                </a:lnTo>
                <a:cubicBezTo>
                  <a:pt x="615" y="570"/>
                  <a:pt x="627" y="563"/>
                  <a:pt x="628" y="524"/>
                </a:cubicBezTo>
                <a:cubicBezTo>
                  <a:pt x="629" y="504"/>
                  <a:pt x="628" y="211"/>
                  <a:pt x="628" y="211"/>
                </a:cubicBezTo>
                <a:lnTo>
                  <a:pt x="647" y="211"/>
                </a:lnTo>
                <a:lnTo>
                  <a:pt x="647" y="352"/>
                </a:lnTo>
                <a:cubicBezTo>
                  <a:pt x="647" y="362"/>
                  <a:pt x="653" y="369"/>
                  <a:pt x="662" y="369"/>
                </a:cubicBezTo>
                <a:cubicBezTo>
                  <a:pt x="671" y="369"/>
                  <a:pt x="676" y="363"/>
                  <a:pt x="676" y="353"/>
                </a:cubicBezTo>
                <a:lnTo>
                  <a:pt x="676" y="215"/>
                </a:lnTo>
                <a:cubicBezTo>
                  <a:pt x="676" y="186"/>
                  <a:pt x="655" y="155"/>
                  <a:pt x="630" y="155"/>
                </a:cubicBezTo>
                <a:close/>
                <a:moveTo>
                  <a:pt x="584" y="135"/>
                </a:moveTo>
                <a:lnTo>
                  <a:pt x="584" y="135"/>
                </a:lnTo>
                <a:cubicBezTo>
                  <a:pt x="607" y="135"/>
                  <a:pt x="626" y="116"/>
                  <a:pt x="626" y="93"/>
                </a:cubicBezTo>
                <a:cubicBezTo>
                  <a:pt x="626" y="70"/>
                  <a:pt x="607" y="52"/>
                  <a:pt x="584" y="52"/>
                </a:cubicBezTo>
                <a:cubicBezTo>
                  <a:pt x="562" y="52"/>
                  <a:pt x="543" y="70"/>
                  <a:pt x="543" y="93"/>
                </a:cubicBezTo>
                <a:cubicBezTo>
                  <a:pt x="543" y="116"/>
                  <a:pt x="562" y="135"/>
                  <a:pt x="584" y="135"/>
                </a:cubicBezTo>
                <a:close/>
                <a:moveTo>
                  <a:pt x="88" y="147"/>
                </a:moveTo>
                <a:lnTo>
                  <a:pt x="88" y="147"/>
                </a:lnTo>
                <a:cubicBezTo>
                  <a:pt x="111" y="147"/>
                  <a:pt x="130" y="128"/>
                  <a:pt x="130" y="105"/>
                </a:cubicBezTo>
                <a:cubicBezTo>
                  <a:pt x="130" y="82"/>
                  <a:pt x="111" y="64"/>
                  <a:pt x="88" y="64"/>
                </a:cubicBezTo>
                <a:cubicBezTo>
                  <a:pt x="65" y="64"/>
                  <a:pt x="47" y="82"/>
                  <a:pt x="47" y="105"/>
                </a:cubicBezTo>
                <a:cubicBezTo>
                  <a:pt x="47" y="128"/>
                  <a:pt x="65" y="147"/>
                  <a:pt x="88" y="147"/>
                </a:cubicBezTo>
                <a:close/>
                <a:moveTo>
                  <a:pt x="423" y="115"/>
                </a:moveTo>
                <a:lnTo>
                  <a:pt x="423" y="115"/>
                </a:lnTo>
                <a:cubicBezTo>
                  <a:pt x="451" y="115"/>
                  <a:pt x="473" y="93"/>
                  <a:pt x="473" y="65"/>
                </a:cubicBezTo>
                <a:cubicBezTo>
                  <a:pt x="473" y="37"/>
                  <a:pt x="451" y="15"/>
                  <a:pt x="423" y="15"/>
                </a:cubicBezTo>
                <a:cubicBezTo>
                  <a:pt x="396" y="15"/>
                  <a:pt x="373" y="37"/>
                  <a:pt x="373" y="65"/>
                </a:cubicBezTo>
                <a:cubicBezTo>
                  <a:pt x="373" y="93"/>
                  <a:pt x="396" y="115"/>
                  <a:pt x="423" y="115"/>
                </a:cubicBezTo>
                <a:close/>
                <a:moveTo>
                  <a:pt x="250" y="100"/>
                </a:moveTo>
                <a:lnTo>
                  <a:pt x="250" y="100"/>
                </a:lnTo>
                <a:cubicBezTo>
                  <a:pt x="277" y="100"/>
                  <a:pt x="300" y="77"/>
                  <a:pt x="300" y="49"/>
                </a:cubicBezTo>
                <a:cubicBezTo>
                  <a:pt x="300" y="22"/>
                  <a:pt x="277" y="0"/>
                  <a:pt x="250" y="0"/>
                </a:cubicBezTo>
                <a:cubicBezTo>
                  <a:pt x="222" y="0"/>
                  <a:pt x="200" y="22"/>
                  <a:pt x="200" y="49"/>
                </a:cubicBezTo>
                <a:cubicBezTo>
                  <a:pt x="200" y="77"/>
                  <a:pt x="222" y="100"/>
                  <a:pt x="250" y="10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prstClr val="black"/>
              </a:solidFill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3334489" y="2603369"/>
            <a:ext cx="875402" cy="524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5290523" y="2603369"/>
            <a:ext cx="936664" cy="524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 40"/>
          <p:cNvSpPr>
            <a:spLocks noChangeAspect="1" noEditPoints="1"/>
          </p:cNvSpPr>
          <p:nvPr/>
        </p:nvSpPr>
        <p:spPr bwMode="auto">
          <a:xfrm>
            <a:off x="2857873" y="1484218"/>
            <a:ext cx="257777" cy="246998"/>
          </a:xfrm>
          <a:custGeom>
            <a:avLst/>
            <a:gdLst>
              <a:gd name="T0" fmla="*/ 153 w 908"/>
              <a:gd name="T1" fmla="*/ 694 h 865"/>
              <a:gd name="T2" fmla="*/ 104 w 908"/>
              <a:gd name="T3" fmla="*/ 591 h 865"/>
              <a:gd name="T4" fmla="*/ 104 w 908"/>
              <a:gd name="T5" fmla="*/ 563 h 865"/>
              <a:gd name="T6" fmla="*/ 153 w 908"/>
              <a:gd name="T7" fmla="*/ 461 h 865"/>
              <a:gd name="T8" fmla="*/ 153 w 908"/>
              <a:gd name="T9" fmla="*/ 383 h 865"/>
              <a:gd name="T10" fmla="*/ 104 w 908"/>
              <a:gd name="T11" fmla="*/ 280 h 865"/>
              <a:gd name="T12" fmla="*/ 104 w 908"/>
              <a:gd name="T13" fmla="*/ 251 h 865"/>
              <a:gd name="T14" fmla="*/ 153 w 908"/>
              <a:gd name="T15" fmla="*/ 156 h 865"/>
              <a:gd name="T16" fmla="*/ 265 w 908"/>
              <a:gd name="T17" fmla="*/ 65 h 865"/>
              <a:gd name="T18" fmla="*/ 262 w 908"/>
              <a:gd name="T19" fmla="*/ 745 h 865"/>
              <a:gd name="T20" fmla="*/ 247 w 908"/>
              <a:gd name="T21" fmla="*/ 773 h 865"/>
              <a:gd name="T22" fmla="*/ 222 w 908"/>
              <a:gd name="T23" fmla="*/ 792 h 865"/>
              <a:gd name="T24" fmla="*/ 190 w 908"/>
              <a:gd name="T25" fmla="*/ 799 h 865"/>
              <a:gd name="T26" fmla="*/ 157 w 908"/>
              <a:gd name="T27" fmla="*/ 795 h 865"/>
              <a:gd name="T28" fmla="*/ 130 w 908"/>
              <a:gd name="T29" fmla="*/ 780 h 865"/>
              <a:gd name="T30" fmla="*/ 111 w 908"/>
              <a:gd name="T31" fmla="*/ 756 h 865"/>
              <a:gd name="T32" fmla="*/ 104 w 908"/>
              <a:gd name="T33" fmla="*/ 724 h 865"/>
              <a:gd name="T34" fmla="*/ 0 w 908"/>
              <a:gd name="T35" fmla="*/ 65 h 865"/>
              <a:gd name="T36" fmla="*/ 38 w 908"/>
              <a:gd name="T37" fmla="*/ 724 h 865"/>
              <a:gd name="T38" fmla="*/ 45 w 908"/>
              <a:gd name="T39" fmla="*/ 768 h 865"/>
              <a:gd name="T40" fmla="*/ 65 w 908"/>
              <a:gd name="T41" fmla="*/ 807 h 865"/>
              <a:gd name="T42" fmla="*/ 96 w 908"/>
              <a:gd name="T43" fmla="*/ 837 h 865"/>
              <a:gd name="T44" fmla="*/ 134 w 908"/>
              <a:gd name="T45" fmla="*/ 857 h 865"/>
              <a:gd name="T46" fmla="*/ 179 w 908"/>
              <a:gd name="T47" fmla="*/ 865 h 865"/>
              <a:gd name="T48" fmla="*/ 221 w 908"/>
              <a:gd name="T49" fmla="*/ 861 h 865"/>
              <a:gd name="T50" fmla="*/ 261 w 908"/>
              <a:gd name="T51" fmla="*/ 845 h 865"/>
              <a:gd name="T52" fmla="*/ 295 w 908"/>
              <a:gd name="T53" fmla="*/ 818 h 865"/>
              <a:gd name="T54" fmla="*/ 319 w 908"/>
              <a:gd name="T55" fmla="*/ 782 h 865"/>
              <a:gd name="T56" fmla="*/ 330 w 908"/>
              <a:gd name="T57" fmla="*/ 739 h 865"/>
              <a:gd name="T58" fmla="*/ 369 w 908"/>
              <a:gd name="T59" fmla="*/ 65 h 865"/>
              <a:gd name="T60" fmla="*/ 0 w 908"/>
              <a:gd name="T61" fmla="*/ 65 h 865"/>
              <a:gd name="T62" fmla="*/ 643 w 908"/>
              <a:gd name="T63" fmla="*/ 65 h 865"/>
              <a:gd name="T64" fmla="*/ 643 w 908"/>
              <a:gd name="T65" fmla="*/ 314 h 865"/>
              <a:gd name="T66" fmla="*/ 539 w 908"/>
              <a:gd name="T67" fmla="*/ 0 h 865"/>
              <a:gd name="T68" fmla="*/ 577 w 908"/>
              <a:gd name="T69" fmla="*/ 724 h 865"/>
              <a:gd name="T70" fmla="*/ 584 w 908"/>
              <a:gd name="T71" fmla="*/ 768 h 865"/>
              <a:gd name="T72" fmla="*/ 604 w 908"/>
              <a:gd name="T73" fmla="*/ 807 h 865"/>
              <a:gd name="T74" fmla="*/ 635 w 908"/>
              <a:gd name="T75" fmla="*/ 837 h 865"/>
              <a:gd name="T76" fmla="*/ 673 w 908"/>
              <a:gd name="T77" fmla="*/ 857 h 865"/>
              <a:gd name="T78" fmla="*/ 718 w 908"/>
              <a:gd name="T79" fmla="*/ 865 h 865"/>
              <a:gd name="T80" fmla="*/ 760 w 908"/>
              <a:gd name="T81" fmla="*/ 861 h 865"/>
              <a:gd name="T82" fmla="*/ 800 w 908"/>
              <a:gd name="T83" fmla="*/ 845 h 865"/>
              <a:gd name="T84" fmla="*/ 834 w 908"/>
              <a:gd name="T85" fmla="*/ 818 h 865"/>
              <a:gd name="T86" fmla="*/ 858 w 908"/>
              <a:gd name="T87" fmla="*/ 782 h 865"/>
              <a:gd name="T88" fmla="*/ 869 w 908"/>
              <a:gd name="T89" fmla="*/ 739 h 865"/>
              <a:gd name="T90" fmla="*/ 908 w 908"/>
              <a:gd name="T91" fmla="*/ 65 h 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08" h="865">
                <a:moveTo>
                  <a:pt x="104" y="694"/>
                </a:moveTo>
                <a:lnTo>
                  <a:pt x="104" y="694"/>
                </a:lnTo>
                <a:lnTo>
                  <a:pt x="153" y="694"/>
                </a:lnTo>
                <a:lnTo>
                  <a:pt x="153" y="666"/>
                </a:lnTo>
                <a:lnTo>
                  <a:pt x="104" y="666"/>
                </a:lnTo>
                <a:lnTo>
                  <a:pt x="104" y="591"/>
                </a:lnTo>
                <a:lnTo>
                  <a:pt x="153" y="591"/>
                </a:lnTo>
                <a:lnTo>
                  <a:pt x="153" y="563"/>
                </a:lnTo>
                <a:lnTo>
                  <a:pt x="104" y="563"/>
                </a:lnTo>
                <a:lnTo>
                  <a:pt x="104" y="489"/>
                </a:lnTo>
                <a:lnTo>
                  <a:pt x="153" y="489"/>
                </a:lnTo>
                <a:lnTo>
                  <a:pt x="153" y="461"/>
                </a:lnTo>
                <a:lnTo>
                  <a:pt x="104" y="461"/>
                </a:lnTo>
                <a:lnTo>
                  <a:pt x="104" y="383"/>
                </a:lnTo>
                <a:lnTo>
                  <a:pt x="153" y="383"/>
                </a:lnTo>
                <a:lnTo>
                  <a:pt x="153" y="354"/>
                </a:lnTo>
                <a:lnTo>
                  <a:pt x="104" y="354"/>
                </a:lnTo>
                <a:lnTo>
                  <a:pt x="104" y="280"/>
                </a:lnTo>
                <a:lnTo>
                  <a:pt x="153" y="280"/>
                </a:lnTo>
                <a:lnTo>
                  <a:pt x="153" y="251"/>
                </a:lnTo>
                <a:lnTo>
                  <a:pt x="104" y="251"/>
                </a:lnTo>
                <a:lnTo>
                  <a:pt x="104" y="184"/>
                </a:lnTo>
                <a:lnTo>
                  <a:pt x="153" y="184"/>
                </a:lnTo>
                <a:lnTo>
                  <a:pt x="153" y="156"/>
                </a:lnTo>
                <a:lnTo>
                  <a:pt x="104" y="156"/>
                </a:lnTo>
                <a:lnTo>
                  <a:pt x="104" y="65"/>
                </a:lnTo>
                <a:lnTo>
                  <a:pt x="265" y="65"/>
                </a:lnTo>
                <a:lnTo>
                  <a:pt x="265" y="724"/>
                </a:lnTo>
                <a:lnTo>
                  <a:pt x="264" y="735"/>
                </a:lnTo>
                <a:lnTo>
                  <a:pt x="262" y="745"/>
                </a:lnTo>
                <a:lnTo>
                  <a:pt x="258" y="756"/>
                </a:lnTo>
                <a:lnTo>
                  <a:pt x="253" y="765"/>
                </a:lnTo>
                <a:lnTo>
                  <a:pt x="247" y="773"/>
                </a:lnTo>
                <a:lnTo>
                  <a:pt x="240" y="780"/>
                </a:lnTo>
                <a:lnTo>
                  <a:pt x="231" y="787"/>
                </a:lnTo>
                <a:lnTo>
                  <a:pt x="222" y="792"/>
                </a:lnTo>
                <a:lnTo>
                  <a:pt x="212" y="795"/>
                </a:lnTo>
                <a:lnTo>
                  <a:pt x="202" y="798"/>
                </a:lnTo>
                <a:lnTo>
                  <a:pt x="190" y="799"/>
                </a:lnTo>
                <a:lnTo>
                  <a:pt x="179" y="799"/>
                </a:lnTo>
                <a:lnTo>
                  <a:pt x="168" y="798"/>
                </a:lnTo>
                <a:lnTo>
                  <a:pt x="157" y="795"/>
                </a:lnTo>
                <a:lnTo>
                  <a:pt x="147" y="792"/>
                </a:lnTo>
                <a:lnTo>
                  <a:pt x="138" y="787"/>
                </a:lnTo>
                <a:lnTo>
                  <a:pt x="130" y="780"/>
                </a:lnTo>
                <a:lnTo>
                  <a:pt x="122" y="773"/>
                </a:lnTo>
                <a:lnTo>
                  <a:pt x="116" y="765"/>
                </a:lnTo>
                <a:lnTo>
                  <a:pt x="111" y="756"/>
                </a:lnTo>
                <a:lnTo>
                  <a:pt x="107" y="745"/>
                </a:lnTo>
                <a:lnTo>
                  <a:pt x="104" y="735"/>
                </a:lnTo>
                <a:lnTo>
                  <a:pt x="104" y="724"/>
                </a:lnTo>
                <a:lnTo>
                  <a:pt x="104" y="694"/>
                </a:lnTo>
                <a:lnTo>
                  <a:pt x="104" y="694"/>
                </a:lnTo>
                <a:close/>
                <a:moveTo>
                  <a:pt x="0" y="65"/>
                </a:moveTo>
                <a:lnTo>
                  <a:pt x="0" y="65"/>
                </a:lnTo>
                <a:lnTo>
                  <a:pt x="38" y="65"/>
                </a:lnTo>
                <a:lnTo>
                  <a:pt x="38" y="724"/>
                </a:lnTo>
                <a:lnTo>
                  <a:pt x="39" y="739"/>
                </a:lnTo>
                <a:lnTo>
                  <a:pt x="41" y="754"/>
                </a:lnTo>
                <a:lnTo>
                  <a:pt x="45" y="768"/>
                </a:lnTo>
                <a:lnTo>
                  <a:pt x="51" y="782"/>
                </a:lnTo>
                <a:lnTo>
                  <a:pt x="57" y="795"/>
                </a:lnTo>
                <a:lnTo>
                  <a:pt x="65" y="807"/>
                </a:lnTo>
                <a:lnTo>
                  <a:pt x="74" y="818"/>
                </a:lnTo>
                <a:lnTo>
                  <a:pt x="84" y="828"/>
                </a:lnTo>
                <a:lnTo>
                  <a:pt x="96" y="837"/>
                </a:lnTo>
                <a:lnTo>
                  <a:pt x="108" y="845"/>
                </a:lnTo>
                <a:lnTo>
                  <a:pt x="121" y="852"/>
                </a:lnTo>
                <a:lnTo>
                  <a:pt x="134" y="857"/>
                </a:lnTo>
                <a:lnTo>
                  <a:pt x="148" y="861"/>
                </a:lnTo>
                <a:lnTo>
                  <a:pt x="163" y="864"/>
                </a:lnTo>
                <a:lnTo>
                  <a:pt x="179" y="865"/>
                </a:lnTo>
                <a:lnTo>
                  <a:pt x="190" y="865"/>
                </a:lnTo>
                <a:lnTo>
                  <a:pt x="206" y="864"/>
                </a:lnTo>
                <a:lnTo>
                  <a:pt x="221" y="861"/>
                </a:lnTo>
                <a:lnTo>
                  <a:pt x="235" y="857"/>
                </a:lnTo>
                <a:lnTo>
                  <a:pt x="249" y="852"/>
                </a:lnTo>
                <a:lnTo>
                  <a:pt x="261" y="845"/>
                </a:lnTo>
                <a:lnTo>
                  <a:pt x="273" y="837"/>
                </a:lnTo>
                <a:lnTo>
                  <a:pt x="285" y="828"/>
                </a:lnTo>
                <a:lnTo>
                  <a:pt x="295" y="818"/>
                </a:lnTo>
                <a:lnTo>
                  <a:pt x="304" y="807"/>
                </a:lnTo>
                <a:lnTo>
                  <a:pt x="312" y="795"/>
                </a:lnTo>
                <a:lnTo>
                  <a:pt x="319" y="782"/>
                </a:lnTo>
                <a:lnTo>
                  <a:pt x="324" y="768"/>
                </a:lnTo>
                <a:lnTo>
                  <a:pt x="328" y="754"/>
                </a:lnTo>
                <a:lnTo>
                  <a:pt x="330" y="739"/>
                </a:lnTo>
                <a:lnTo>
                  <a:pt x="331" y="724"/>
                </a:lnTo>
                <a:lnTo>
                  <a:pt x="331" y="65"/>
                </a:lnTo>
                <a:lnTo>
                  <a:pt x="369" y="65"/>
                </a:lnTo>
                <a:lnTo>
                  <a:pt x="369" y="0"/>
                </a:lnTo>
                <a:lnTo>
                  <a:pt x="0" y="0"/>
                </a:lnTo>
                <a:lnTo>
                  <a:pt x="0" y="65"/>
                </a:lnTo>
                <a:lnTo>
                  <a:pt x="0" y="65"/>
                </a:lnTo>
                <a:close/>
                <a:moveTo>
                  <a:pt x="643" y="65"/>
                </a:moveTo>
                <a:lnTo>
                  <a:pt x="643" y="65"/>
                </a:lnTo>
                <a:lnTo>
                  <a:pt x="804" y="65"/>
                </a:lnTo>
                <a:lnTo>
                  <a:pt x="804" y="314"/>
                </a:lnTo>
                <a:lnTo>
                  <a:pt x="643" y="314"/>
                </a:lnTo>
                <a:lnTo>
                  <a:pt x="643" y="65"/>
                </a:lnTo>
                <a:close/>
                <a:moveTo>
                  <a:pt x="539" y="0"/>
                </a:moveTo>
                <a:lnTo>
                  <a:pt x="539" y="0"/>
                </a:lnTo>
                <a:lnTo>
                  <a:pt x="539" y="65"/>
                </a:lnTo>
                <a:lnTo>
                  <a:pt x="577" y="65"/>
                </a:lnTo>
                <a:lnTo>
                  <a:pt x="577" y="724"/>
                </a:lnTo>
                <a:lnTo>
                  <a:pt x="578" y="739"/>
                </a:lnTo>
                <a:lnTo>
                  <a:pt x="580" y="754"/>
                </a:lnTo>
                <a:lnTo>
                  <a:pt x="584" y="768"/>
                </a:lnTo>
                <a:lnTo>
                  <a:pt x="590" y="782"/>
                </a:lnTo>
                <a:lnTo>
                  <a:pt x="596" y="795"/>
                </a:lnTo>
                <a:lnTo>
                  <a:pt x="604" y="807"/>
                </a:lnTo>
                <a:lnTo>
                  <a:pt x="613" y="818"/>
                </a:lnTo>
                <a:lnTo>
                  <a:pt x="623" y="828"/>
                </a:lnTo>
                <a:lnTo>
                  <a:pt x="635" y="837"/>
                </a:lnTo>
                <a:lnTo>
                  <a:pt x="647" y="845"/>
                </a:lnTo>
                <a:lnTo>
                  <a:pt x="660" y="852"/>
                </a:lnTo>
                <a:lnTo>
                  <a:pt x="673" y="857"/>
                </a:lnTo>
                <a:lnTo>
                  <a:pt x="688" y="861"/>
                </a:lnTo>
                <a:lnTo>
                  <a:pt x="702" y="864"/>
                </a:lnTo>
                <a:lnTo>
                  <a:pt x="718" y="865"/>
                </a:lnTo>
                <a:lnTo>
                  <a:pt x="729" y="865"/>
                </a:lnTo>
                <a:lnTo>
                  <a:pt x="745" y="864"/>
                </a:lnTo>
                <a:lnTo>
                  <a:pt x="760" y="861"/>
                </a:lnTo>
                <a:lnTo>
                  <a:pt x="774" y="857"/>
                </a:lnTo>
                <a:lnTo>
                  <a:pt x="788" y="852"/>
                </a:lnTo>
                <a:lnTo>
                  <a:pt x="800" y="845"/>
                </a:lnTo>
                <a:lnTo>
                  <a:pt x="812" y="837"/>
                </a:lnTo>
                <a:lnTo>
                  <a:pt x="824" y="828"/>
                </a:lnTo>
                <a:lnTo>
                  <a:pt x="834" y="818"/>
                </a:lnTo>
                <a:lnTo>
                  <a:pt x="843" y="807"/>
                </a:lnTo>
                <a:lnTo>
                  <a:pt x="851" y="795"/>
                </a:lnTo>
                <a:lnTo>
                  <a:pt x="858" y="782"/>
                </a:lnTo>
                <a:lnTo>
                  <a:pt x="863" y="768"/>
                </a:lnTo>
                <a:lnTo>
                  <a:pt x="867" y="754"/>
                </a:lnTo>
                <a:lnTo>
                  <a:pt x="869" y="739"/>
                </a:lnTo>
                <a:lnTo>
                  <a:pt x="870" y="724"/>
                </a:lnTo>
                <a:lnTo>
                  <a:pt x="870" y="65"/>
                </a:lnTo>
                <a:lnTo>
                  <a:pt x="908" y="65"/>
                </a:lnTo>
                <a:lnTo>
                  <a:pt x="908" y="0"/>
                </a:lnTo>
                <a:lnTo>
                  <a:pt x="539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 dirty="0">
              <a:solidFill>
                <a:prstClr val="black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047727" y="2663856"/>
            <a:ext cx="1402037" cy="1558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4300" indent="-114300">
              <a:spcBef>
                <a:spcPts val="338"/>
              </a:spcBef>
              <a:buSzPct val="100000"/>
              <a:buFont typeface="Arial"/>
              <a:buChar char="•"/>
            </a:pPr>
            <a:endParaRPr lang="en-US" sz="1013" dirty="0">
              <a:solidFill>
                <a:srgbClr val="31313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415637" y="2132629"/>
            <a:ext cx="68643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en-US" sz="900" b="1" i="1" dirty="0">
                <a:solidFill>
                  <a:srgbClr val="313131"/>
                </a:solidFill>
              </a:rPr>
              <a:t>Central certifier review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346924" y="2135191"/>
            <a:ext cx="84353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en-US" sz="900" b="1" i="1" dirty="0">
                <a:solidFill>
                  <a:srgbClr val="313131"/>
                </a:solidFill>
              </a:rPr>
              <a:t>Data packet produced centrally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DA3C1E-9702-405F-9432-947E7421A05C}" type="slidenum">
              <a:rPr lang="en-US" altLang="en-US" smtClean="0"/>
              <a:pPr>
                <a:defRPr/>
              </a:pPr>
              <a:t>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8186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0EA5EC09-A814-4DB8-96F7-E242FDF392DB}" type="slidenum">
              <a:rPr lang="en-US" sz="900">
                <a:solidFill>
                  <a:prstClr val="black"/>
                </a:solidFill>
                <a:latin typeface="Calibri" panose="020F0502020204030204"/>
                <a:cs typeface="+mn-cs"/>
              </a:rPr>
              <a:pPr defTabSz="685800">
                <a:defRPr/>
              </a:pPr>
              <a:t>6</a:t>
            </a:fld>
            <a:endParaRPr lang="en-US" sz="900" dirty="0">
              <a:solidFill>
                <a:prstClr val="black"/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69075" y="1623790"/>
            <a:ext cx="4605534" cy="375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defRPr/>
            </a:pPr>
            <a:r>
              <a:rPr lang="en-GB" b="1" dirty="0">
                <a:solidFill>
                  <a:prstClr val="white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 wh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D165A16-7DCE-451D-AD98-7B341B77C743}"/>
              </a:ext>
            </a:extLst>
          </p:cNvPr>
          <p:cNvSpPr/>
          <p:nvPr/>
        </p:nvSpPr>
        <p:spPr>
          <a:xfrm>
            <a:off x="369075" y="815914"/>
            <a:ext cx="4615633" cy="3283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07000"/>
              </a:lnSpc>
              <a:spcAft>
                <a:spcPts val="600"/>
              </a:spcAft>
              <a:defRPr/>
            </a:pPr>
            <a:endParaRPr lang="en-US" sz="1350" b="1" dirty="0">
              <a:solidFill>
                <a:prstClr val="black"/>
              </a:solidFill>
              <a:latin typeface="Calibri Light" panose="020F0302020204030204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14313" indent="-214313" defTabSz="685800">
              <a:lnSpc>
                <a:spcPct val="107000"/>
              </a:lnSpc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  <a:defRPr/>
            </a:pPr>
            <a:r>
              <a:rPr lang="en-US" sz="1350" dirty="0">
                <a:solidFill>
                  <a:prstClr val="black"/>
                </a:solidFill>
                <a:latin typeface="Calibri Light" panose="020F0302020204030204"/>
                <a:ea typeface="Calibri" panose="020F0502020204030204" pitchFamily="34" charset="0"/>
                <a:cs typeface="Times New Roman" panose="02020603050405020304" pitchFamily="18" charset="0"/>
              </a:rPr>
              <a:t>Mortality surveillance gaps remain but CHAMPS’ t</a:t>
            </a:r>
            <a:r>
              <a:rPr lang="en-US" sz="1350" dirty="0">
                <a:solidFill>
                  <a:prstClr val="black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echnical and financial investments limit its widespread delivery </a:t>
            </a:r>
          </a:p>
          <a:p>
            <a:pPr marL="271463" indent="-271463" defTabSz="685800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  <a:defRPr/>
            </a:pPr>
            <a:r>
              <a:rPr lang="en-US" sz="1350" dirty="0">
                <a:solidFill>
                  <a:prstClr val="black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To complement CHAMPS, </a:t>
            </a:r>
            <a:r>
              <a:rPr lang="en-US" sz="1350" b="1" dirty="0">
                <a:solidFill>
                  <a:prstClr val="black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untrywide Mortality Surveillance for Action (COMSA) </a:t>
            </a:r>
            <a:r>
              <a:rPr lang="en-US" sz="1350" dirty="0">
                <a:solidFill>
                  <a:prstClr val="black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was developed </a:t>
            </a:r>
          </a:p>
          <a:p>
            <a:pPr marL="271463" indent="-271463" defTabSz="685800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  <a:defRPr/>
            </a:pPr>
            <a:r>
              <a:rPr lang="en-US" sz="1350" dirty="0">
                <a:solidFill>
                  <a:prstClr val="black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COMSA continuously records data on pregnancy outcomes, deaths, and cause of death from a population in a nationally representative sample of geographic areas</a:t>
            </a:r>
          </a:p>
          <a:p>
            <a:pPr marL="271463" indent="-271463" defTabSz="685800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  <a:defRPr/>
            </a:pPr>
            <a:r>
              <a:rPr lang="en-US" sz="1350" dirty="0">
                <a:solidFill>
                  <a:prstClr val="black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Verbal autopsies conducted on all deaths</a:t>
            </a:r>
          </a:p>
          <a:p>
            <a:pPr marL="271463" indent="-271463" defTabSz="685800">
              <a:spcBef>
                <a:spcPts val="450"/>
              </a:spcBef>
              <a:spcAft>
                <a:spcPts val="450"/>
              </a:spcAft>
              <a:buFont typeface="Wingdings" panose="05000000000000000000" pitchFamily="2" charset="2"/>
              <a:buChar char="ü"/>
              <a:defRPr/>
            </a:pPr>
            <a:r>
              <a:rPr lang="en-US" sz="1350" dirty="0">
                <a:solidFill>
                  <a:prstClr val="black"/>
                </a:solidFill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MITS is conducted in a subsample of under five deaths to calibrate the cause of death information nationally from verbal autopsies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7CD78A-CA92-4363-B1E7-A8A4F9D2B3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74596" y="707332"/>
            <a:ext cx="3600329" cy="372891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13630C6-F7EF-40BD-A538-7F0E2DDE99BE}"/>
              </a:ext>
            </a:extLst>
          </p:cNvPr>
          <p:cNvSpPr/>
          <p:nvPr/>
        </p:nvSpPr>
        <p:spPr>
          <a:xfrm>
            <a:off x="369075" y="261916"/>
            <a:ext cx="4572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3000" b="1" dirty="0">
                <a:latin typeface="+mj-lt"/>
                <a:ea typeface="Calibri" panose="020F0502020204030204" pitchFamily="34" charset="0"/>
                <a:cs typeface="Calibri Light" panose="020F0302020204030204" pitchFamily="34" charset="0"/>
              </a:rPr>
              <a:t>What is COMSA?</a:t>
            </a:r>
            <a:endParaRPr lang="en-GB" altLang="en-US" sz="30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55386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45EED8-6D17-4CDB-B34B-E37552BBE1F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E3CFC9-7703-477E-9743-C67FF4B4D7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2CAD29-E780-4052-84C5-0AA050BEB5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4" y="484691"/>
            <a:ext cx="8344686" cy="523183"/>
          </a:xfrm>
        </p:spPr>
        <p:txBody>
          <a:bodyPr/>
          <a:lstStyle/>
          <a:p>
            <a:r>
              <a:rPr lang="en-US" dirty="0" err="1"/>
              <a:t>comsa</a:t>
            </a:r>
            <a:r>
              <a:rPr lang="en-US" dirty="0"/>
              <a:t> demonstration projects in Mozambique and Sierra </a:t>
            </a:r>
            <a:r>
              <a:rPr lang="en-US" dirty="0" err="1"/>
              <a:t>leone</a:t>
            </a:r>
            <a:endParaRPr lang="en-US" dirty="0"/>
          </a:p>
        </p:txBody>
      </p:sp>
      <p:sp>
        <p:nvSpPr>
          <p:cNvPr id="9" name="ColumnHeader">
            <a:extLst>
              <a:ext uri="{FF2B5EF4-FFF2-40B4-BE49-F238E27FC236}">
                <a16:creationId xmlns:a16="http://schemas.microsoft.com/office/drawing/2014/main" id="{2B681038-E6D7-4FD5-8E31-BF54940507C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28307" y="1493924"/>
            <a:ext cx="3832170" cy="3231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68580" bIns="68580" anchor="b">
            <a:spAutoFit/>
          </a:bodyPr>
          <a:lstStyle/>
          <a:p>
            <a:pPr algn="ctr"/>
            <a:r>
              <a:rPr lang="en-US" sz="1200" b="1" dirty="0">
                <a:solidFill>
                  <a:schemeClr val="accent6"/>
                </a:solidFill>
              </a:rPr>
              <a:t>Status of Sierra Leone</a:t>
            </a:r>
          </a:p>
        </p:txBody>
      </p:sp>
      <p:sp>
        <p:nvSpPr>
          <p:cNvPr id="10" name="ColumnHeader">
            <a:extLst>
              <a:ext uri="{FF2B5EF4-FFF2-40B4-BE49-F238E27FC236}">
                <a16:creationId xmlns:a16="http://schemas.microsoft.com/office/drawing/2014/main" id="{BEA4E464-B02B-4844-8A80-ED6C69A83B2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3466" y="1493924"/>
            <a:ext cx="3832170" cy="32316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68580" bIns="68580" anchor="b">
            <a:spAutoFit/>
          </a:bodyPr>
          <a:lstStyle/>
          <a:p>
            <a:pPr algn="ctr"/>
            <a:r>
              <a:rPr lang="en-US" sz="1200" b="1" dirty="0">
                <a:solidFill>
                  <a:schemeClr val="accent6"/>
                </a:solidFill>
              </a:rPr>
              <a:t>Status of Mozambiqu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5CF0F8E-7DEB-4EBF-8CC9-4B0BDCB67506}"/>
              </a:ext>
            </a:extLst>
          </p:cNvPr>
          <p:cNvGrpSpPr/>
          <p:nvPr/>
        </p:nvGrpSpPr>
        <p:grpSpPr>
          <a:xfrm>
            <a:off x="2058497" y="1898073"/>
            <a:ext cx="2298758" cy="2565080"/>
            <a:chOff x="7084349" y="74067"/>
            <a:chExt cx="5166181" cy="672387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B841F3D-53E7-4EB1-B107-E8BCABA03755}"/>
                </a:ext>
              </a:extLst>
            </p:cNvPr>
            <p:cNvGrpSpPr/>
            <p:nvPr/>
          </p:nvGrpSpPr>
          <p:grpSpPr>
            <a:xfrm>
              <a:off x="7084349" y="74067"/>
              <a:ext cx="5166181" cy="6723879"/>
              <a:chOff x="7084349" y="74067"/>
              <a:chExt cx="5166181" cy="6723879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E10E4946-C206-4EBE-9989-3943DA22B601}"/>
                  </a:ext>
                </a:extLst>
              </p:cNvPr>
              <p:cNvGrpSpPr/>
              <p:nvPr/>
            </p:nvGrpSpPr>
            <p:grpSpPr>
              <a:xfrm>
                <a:off x="7084349" y="74067"/>
                <a:ext cx="5166181" cy="6723879"/>
                <a:chOff x="7084349" y="74067"/>
                <a:chExt cx="5166181" cy="6723879"/>
              </a:xfrm>
            </p:grpSpPr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55825026-A99B-4D1A-8634-88CB0FBFAC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7084349" y="74067"/>
                  <a:ext cx="4870384" cy="6723879"/>
                </a:xfrm>
                <a:prstGeom prst="rect">
                  <a:avLst/>
                </a:prstGeom>
              </p:spPr>
            </p:pic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4DD96819-4209-42C0-AFC0-DF89946FD228}"/>
                    </a:ext>
                  </a:extLst>
                </p:cNvPr>
                <p:cNvSpPr/>
                <p:nvPr/>
              </p:nvSpPr>
              <p:spPr>
                <a:xfrm>
                  <a:off x="9832204" y="3961224"/>
                  <a:ext cx="265350" cy="230602"/>
                </a:xfrm>
                <a:custGeom>
                  <a:avLst/>
                  <a:gdLst>
                    <a:gd name="connsiteX0" fmla="*/ 0 w 197025"/>
                    <a:gd name="connsiteY0" fmla="*/ 45468 h 181870"/>
                    <a:gd name="connsiteX1" fmla="*/ 70727 w 197025"/>
                    <a:gd name="connsiteY1" fmla="*/ 181870 h 181870"/>
                    <a:gd name="connsiteX2" fmla="*/ 181869 w 197025"/>
                    <a:gd name="connsiteY2" fmla="*/ 171766 h 181870"/>
                    <a:gd name="connsiteX3" fmla="*/ 197025 w 197025"/>
                    <a:gd name="connsiteY3" fmla="*/ 40416 h 181870"/>
                    <a:gd name="connsiteX4" fmla="*/ 121246 w 197025"/>
                    <a:gd name="connsiteY4" fmla="*/ 0 h 181870"/>
                    <a:gd name="connsiteX5" fmla="*/ 0 w 197025"/>
                    <a:gd name="connsiteY5" fmla="*/ 45468 h 1818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7025" h="181870">
                      <a:moveTo>
                        <a:pt x="0" y="45468"/>
                      </a:moveTo>
                      <a:lnTo>
                        <a:pt x="70727" y="181870"/>
                      </a:lnTo>
                      <a:lnTo>
                        <a:pt x="181869" y="171766"/>
                      </a:lnTo>
                      <a:lnTo>
                        <a:pt x="197025" y="40416"/>
                      </a:lnTo>
                      <a:lnTo>
                        <a:pt x="121246" y="0"/>
                      </a:lnTo>
                      <a:lnTo>
                        <a:pt x="0" y="45468"/>
                      </a:lnTo>
                      <a:close/>
                    </a:path>
                  </a:pathLst>
                </a:custGeom>
                <a:solidFill>
                  <a:srgbClr val="4AE42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800"/>
                </a:p>
              </p:txBody>
            </p:sp>
            <p:sp>
              <p:nvSpPr>
                <p:cNvPr id="22" name="TextBox 13">
                  <a:extLst>
                    <a:ext uri="{FF2B5EF4-FFF2-40B4-BE49-F238E27FC236}">
                      <a16:creationId xmlns:a16="http://schemas.microsoft.com/office/drawing/2014/main" id="{90F64437-6176-4BDC-9C41-19A1BF84B400}"/>
                    </a:ext>
                  </a:extLst>
                </p:cNvPr>
                <p:cNvSpPr txBox="1"/>
                <p:nvPr/>
              </p:nvSpPr>
              <p:spPr>
                <a:xfrm>
                  <a:off x="10208579" y="3783897"/>
                  <a:ext cx="2041951" cy="56474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800" dirty="0"/>
                    <a:t>COMSA cluster</a:t>
                  </a:r>
                </a:p>
              </p:txBody>
            </p:sp>
          </p:grp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A5F828CF-79E2-4C61-8CCF-42134C4E2B09}"/>
                  </a:ext>
                </a:extLst>
              </p:cNvPr>
              <p:cNvSpPr/>
              <p:nvPr/>
            </p:nvSpPr>
            <p:spPr>
              <a:xfrm>
                <a:off x="9832204" y="4422815"/>
                <a:ext cx="365760" cy="293570"/>
              </a:xfrm>
              <a:prstGeom prst="rect">
                <a:avLst/>
              </a:prstGeom>
              <a:solidFill>
                <a:srgbClr val="FFFF8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/>
              </a:p>
            </p:txBody>
          </p:sp>
          <p:sp>
            <p:nvSpPr>
              <p:cNvPr id="16" name="TextBox 9">
                <a:extLst>
                  <a:ext uri="{FF2B5EF4-FFF2-40B4-BE49-F238E27FC236}">
                    <a16:creationId xmlns:a16="http://schemas.microsoft.com/office/drawing/2014/main" id="{7E70DDB6-E310-4D0C-880D-9B3EEDF439DE}"/>
                  </a:ext>
                </a:extLst>
              </p:cNvPr>
              <p:cNvSpPr txBox="1"/>
              <p:nvPr/>
            </p:nvSpPr>
            <p:spPr>
              <a:xfrm>
                <a:off x="10279702" y="4384933"/>
                <a:ext cx="1675028" cy="5647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800" dirty="0"/>
                  <a:t>Phase I</a:t>
                </a:r>
              </a:p>
            </p:txBody>
          </p:sp>
          <p:sp>
            <p:nvSpPr>
              <p:cNvPr id="17" name="TextBox 10">
                <a:extLst>
                  <a:ext uri="{FF2B5EF4-FFF2-40B4-BE49-F238E27FC236}">
                    <a16:creationId xmlns:a16="http://schemas.microsoft.com/office/drawing/2014/main" id="{E9A23700-7361-4687-9AFC-6A95473CE299}"/>
                  </a:ext>
                </a:extLst>
              </p:cNvPr>
              <p:cNvSpPr txBox="1"/>
              <p:nvPr/>
            </p:nvSpPr>
            <p:spPr>
              <a:xfrm>
                <a:off x="10234860" y="5114227"/>
                <a:ext cx="1719870" cy="5647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800" dirty="0"/>
                  <a:t>Phase II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119E4E-B8F7-4052-AA87-84697431D9D8}"/>
                  </a:ext>
                </a:extLst>
              </p:cNvPr>
              <p:cNvSpPr/>
              <p:nvPr/>
            </p:nvSpPr>
            <p:spPr>
              <a:xfrm>
                <a:off x="9816163" y="5784783"/>
                <a:ext cx="365760" cy="29357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/>
              </a:p>
            </p:txBody>
          </p:sp>
          <p:sp>
            <p:nvSpPr>
              <p:cNvPr id="19" name="TextBox 12">
                <a:extLst>
                  <a:ext uri="{FF2B5EF4-FFF2-40B4-BE49-F238E27FC236}">
                    <a16:creationId xmlns:a16="http://schemas.microsoft.com/office/drawing/2014/main" id="{C6F6D582-875A-4D4C-B9F2-B6333868C197}"/>
                  </a:ext>
                </a:extLst>
              </p:cNvPr>
              <p:cNvSpPr txBox="1"/>
              <p:nvPr/>
            </p:nvSpPr>
            <p:spPr>
              <a:xfrm>
                <a:off x="10238065" y="5714206"/>
                <a:ext cx="1716663" cy="8874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800" dirty="0"/>
                  <a:t>Parks and reserves</a:t>
                </a: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198070-683A-43A5-9130-06BC4063165B}"/>
                </a:ext>
              </a:extLst>
            </p:cNvPr>
            <p:cNvSpPr/>
            <p:nvPr/>
          </p:nvSpPr>
          <p:spPr>
            <a:xfrm>
              <a:off x="9816163" y="5133475"/>
              <a:ext cx="365760" cy="29357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800" dirty="0"/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C096BA0-AAE6-46D8-BE4E-69F5E48AA1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1191" y="2070950"/>
            <a:ext cx="2066925" cy="2219325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B4CA584-5F96-45FF-80CA-B2A711913BEF}"/>
              </a:ext>
            </a:extLst>
          </p:cNvPr>
          <p:cNvCxnSpPr>
            <a:cxnSpLocks/>
          </p:cNvCxnSpPr>
          <p:nvPr/>
        </p:nvCxnSpPr>
        <p:spPr>
          <a:xfrm flipH="1">
            <a:off x="6744393" y="3030794"/>
            <a:ext cx="939517" cy="390257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4BA9306C-E064-4205-B2B6-F19095DEBAF5}"/>
              </a:ext>
            </a:extLst>
          </p:cNvPr>
          <p:cNvSpPr txBox="1"/>
          <p:nvPr/>
        </p:nvSpPr>
        <p:spPr>
          <a:xfrm>
            <a:off x="7794523" y="2815201"/>
            <a:ext cx="1084006" cy="21379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Pilot in Bo district, May 2019</a:t>
            </a:r>
          </a:p>
          <a:p>
            <a:pPr marL="117475" indent="-1174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Expand to all districts by end of 2019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DE32998-1A91-4425-B01D-57033DC3EB95}"/>
              </a:ext>
            </a:extLst>
          </p:cNvPr>
          <p:cNvSpPr txBox="1"/>
          <p:nvPr/>
        </p:nvSpPr>
        <p:spPr>
          <a:xfrm>
            <a:off x="443345" y="1893875"/>
            <a:ext cx="1615149" cy="28225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dirty="0">
                <a:solidFill>
                  <a:schemeClr val="accent6"/>
                </a:solidFill>
              </a:rPr>
              <a:t>700 clusters (~300 households each):</a:t>
            </a:r>
          </a:p>
          <a:p>
            <a:pPr marL="285750" indent="-1682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Phase I: 5 provinces, 422 clusters</a:t>
            </a:r>
          </a:p>
          <a:p>
            <a:pPr marL="285750" indent="-1682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Phase II: remaining 6 provinces, 278 clusters</a:t>
            </a:r>
          </a:p>
        </p:txBody>
      </p:sp>
    </p:spTree>
    <p:extLst>
      <p:ext uri="{BB962C8B-B14F-4D97-AF65-F5344CB8AC3E}">
        <p14:creationId xmlns:p14="http://schemas.microsoft.com/office/powerpoint/2010/main" val="369274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004" y="803864"/>
            <a:ext cx="8164721" cy="4459054"/>
          </a:xfrm>
        </p:spPr>
        <p:txBody>
          <a:bodyPr>
            <a:noAutofit/>
          </a:bodyPr>
          <a:lstStyle/>
          <a:p>
            <a:r>
              <a:rPr lang="en-US" sz="1350" b="1" dirty="0">
                <a:latin typeface="+mj-lt"/>
              </a:rPr>
              <a:t>Led by national statistics organizations </a:t>
            </a:r>
            <a:r>
              <a:rPr lang="en-US" sz="1350" dirty="0">
                <a:latin typeface="+mj-lt"/>
              </a:rPr>
              <a:t>with close collaboration from ministries of health, national civil registration authorities, national public health institutes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Four years of BMGF support for external technical assistance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Low running costs</a:t>
            </a:r>
          </a:p>
          <a:p>
            <a:r>
              <a:rPr lang="en-US" sz="1350" dirty="0">
                <a:latin typeface="+mj-lt"/>
              </a:rPr>
              <a:t>Select </a:t>
            </a:r>
            <a:r>
              <a:rPr lang="en-US" sz="1350" b="1" dirty="0">
                <a:latin typeface="+mj-lt"/>
              </a:rPr>
              <a:t>representative enumeration areas </a:t>
            </a:r>
            <a:r>
              <a:rPr lang="en-US" sz="1350" dirty="0">
                <a:latin typeface="+mj-lt"/>
              </a:rPr>
              <a:t>across a country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Cover ~ 3-8% of entire population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Identify and report pregnancies outcomes and deaths (including stillbirths) 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Conduct verbal autopsy (VA) on all deaths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Conduct MITS on some U5 deaths from COMSA (outside of CHAMPS site)</a:t>
            </a:r>
          </a:p>
          <a:p>
            <a:r>
              <a:rPr lang="en-US" sz="1350" b="1" dirty="0">
                <a:latin typeface="+mj-lt"/>
              </a:rPr>
              <a:t>Assemble all data across the country </a:t>
            </a:r>
            <a:r>
              <a:rPr lang="en-US" sz="1350" dirty="0">
                <a:latin typeface="+mj-lt"/>
              </a:rPr>
              <a:t>and calculate statistics at the national and subnational levels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National and subnational crude birth and death rates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Age-group specific mortality rates and cause-specific mortality fractions and rates</a:t>
            </a:r>
          </a:p>
          <a:p>
            <a:pPr marL="1613297" lvl="1" indent="-535781"/>
            <a:r>
              <a:rPr lang="en-US" sz="1350" dirty="0">
                <a:latin typeface="+mj-lt"/>
              </a:rPr>
              <a:t>Use MITS-VA pairs from CHAMPS and COMSA to calibrate national VA-based COD</a:t>
            </a:r>
            <a:endParaRPr lang="en-US" sz="1350" b="1" dirty="0">
              <a:latin typeface="+mj-lt"/>
            </a:endParaRPr>
          </a:p>
          <a:p>
            <a:r>
              <a:rPr lang="en-US" sz="1350" b="1" dirty="0">
                <a:latin typeface="+mj-lt"/>
              </a:rPr>
              <a:t>Integrate with existing data systems </a:t>
            </a:r>
            <a:r>
              <a:rPr lang="en-US" sz="1350" dirty="0">
                <a:latin typeface="+mj-lt"/>
              </a:rPr>
              <a:t>and share data promptly and continuously with local, national, and international stakeholder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19DA58-A6C1-40EC-98DE-328F8A3B9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0EA5EC09-A814-4DB8-96F7-E242FDF392DB}" type="slidenum">
              <a:rPr lang="en-US" sz="90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+mn-cs"/>
              </a:rPr>
              <a:pPr defTabSz="685800">
                <a:defRPr/>
              </a:pPr>
              <a:t>8</a:t>
            </a:fld>
            <a:endParaRPr lang="en-US" sz="900">
              <a:solidFill>
                <a:prstClr val="black">
                  <a:tint val="75000"/>
                </a:prst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89B28AE-8FF8-4A6B-9129-0A1F019D93C1}"/>
              </a:ext>
            </a:extLst>
          </p:cNvPr>
          <p:cNvSpPr/>
          <p:nvPr/>
        </p:nvSpPr>
        <p:spPr>
          <a:xfrm>
            <a:off x="355003" y="280644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2800" b="1" dirty="0">
                <a:solidFill>
                  <a:schemeClr val="tx1">
                    <a:lumMod val="50000"/>
                  </a:schemeClr>
                </a:solidFill>
                <a:latin typeface="+mj-lt"/>
                <a:ea typeface="Calibri" panose="020F0502020204030204" pitchFamily="34" charset="0"/>
                <a:cs typeface="Calibri Light" panose="020F0302020204030204" pitchFamily="34" charset="0"/>
              </a:rPr>
              <a:t>COMSA approach</a:t>
            </a:r>
            <a:endParaRPr lang="en-GB" altLang="en-US" sz="2800" dirty="0">
              <a:solidFill>
                <a:schemeClr val="tx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461909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2A3329-10BE-4709-B981-371C6DD488F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0976D6-53FC-4DDF-9DD3-FFA416B20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C59901B-E0F1-4683-999D-226AF7937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Compared to other sources of cause of death, </a:t>
            </a:r>
            <a:r>
              <a:rPr lang="en-US" sz="2200" dirty="0" err="1"/>
              <a:t>comsa</a:t>
            </a:r>
            <a:r>
              <a:rPr lang="en-US" sz="2200" dirty="0"/>
              <a:t> can provide comprehensive data at low cost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C12E1E03-092B-4D75-8F96-842C20A14300}"/>
              </a:ext>
            </a:extLst>
          </p:cNvPr>
          <p:cNvSpPr/>
          <p:nvPr/>
        </p:nvSpPr>
        <p:spPr>
          <a:xfrm>
            <a:off x="1709853" y="966017"/>
            <a:ext cx="7077308" cy="523182"/>
          </a:xfrm>
          <a:prstGeom prst="rightArrow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/>
              <a:t>Comprehensiveness of informatio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4C19578-1E95-46D6-8C0B-A83AB384C19E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65125" y="1357852"/>
          <a:ext cx="8162323" cy="3017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35833">
                  <a:extLst>
                    <a:ext uri="{9D8B030D-6E8A-4147-A177-3AD203B41FA5}">
                      <a16:colId xmlns:a16="http://schemas.microsoft.com/office/drawing/2014/main" val="2490854500"/>
                    </a:ext>
                  </a:extLst>
                </a:gridCol>
                <a:gridCol w="1365298">
                  <a:extLst>
                    <a:ext uri="{9D8B030D-6E8A-4147-A177-3AD203B41FA5}">
                      <a16:colId xmlns:a16="http://schemas.microsoft.com/office/drawing/2014/main" val="3052166015"/>
                    </a:ext>
                  </a:extLst>
                </a:gridCol>
                <a:gridCol w="1365298">
                  <a:extLst>
                    <a:ext uri="{9D8B030D-6E8A-4147-A177-3AD203B41FA5}">
                      <a16:colId xmlns:a16="http://schemas.microsoft.com/office/drawing/2014/main" val="2593899106"/>
                    </a:ext>
                  </a:extLst>
                </a:gridCol>
                <a:gridCol w="1365298">
                  <a:extLst>
                    <a:ext uri="{9D8B030D-6E8A-4147-A177-3AD203B41FA5}">
                      <a16:colId xmlns:a16="http://schemas.microsoft.com/office/drawing/2014/main" val="2646814346"/>
                    </a:ext>
                  </a:extLst>
                </a:gridCol>
                <a:gridCol w="1365298">
                  <a:extLst>
                    <a:ext uri="{9D8B030D-6E8A-4147-A177-3AD203B41FA5}">
                      <a16:colId xmlns:a16="http://schemas.microsoft.com/office/drawing/2014/main" val="361300602"/>
                    </a:ext>
                  </a:extLst>
                </a:gridCol>
                <a:gridCol w="1365298">
                  <a:extLst>
                    <a:ext uri="{9D8B030D-6E8A-4147-A177-3AD203B41FA5}">
                      <a16:colId xmlns:a16="http://schemas.microsoft.com/office/drawing/2014/main" val="4028887498"/>
                    </a:ext>
                  </a:extLst>
                </a:gridCol>
              </a:tblGrid>
              <a:tr h="451261"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HDSS Site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Post-DHS or post-MICS VA survey</a:t>
                      </a:r>
                    </a:p>
                    <a:p>
                      <a:pPr algn="ctr"/>
                      <a:endParaRPr lang="en-US" sz="1000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Post-census VA surveys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chemeClr val="accent6"/>
                          </a:solidFill>
                        </a:rPr>
                        <a:t>(like INCAM in Mozambique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COMSA-Like SRS </a:t>
                      </a:r>
                    </a:p>
                    <a:p>
                      <a:pPr algn="ctr"/>
                      <a:r>
                        <a:rPr lang="en-US" sz="800" dirty="0">
                          <a:solidFill>
                            <a:schemeClr val="accent6"/>
                          </a:solidFill>
                        </a:rPr>
                        <a:t>(using VA for community deaths and integrating facility data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CRVS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7019409"/>
                  </a:ext>
                </a:extLst>
              </a:tr>
              <a:tr h="238968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ationally Representative</a:t>
                      </a:r>
                    </a:p>
                  </a:txBody>
                  <a:tcPr marL="365760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24768159"/>
                  </a:ext>
                </a:extLst>
              </a:tr>
              <a:tr h="238968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Adequately Powered</a:t>
                      </a:r>
                    </a:p>
                  </a:txBody>
                  <a:tcPr marL="365760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17090767"/>
                  </a:ext>
                </a:extLst>
              </a:tr>
              <a:tr h="238968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Frequent Data Collection</a:t>
                      </a:r>
                    </a:p>
                  </a:txBody>
                  <a:tcPr marL="365760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 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(every ~5 years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 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(every ~10 years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807656"/>
                  </a:ext>
                </a:extLst>
              </a:tr>
              <a:tr h="290096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Cause of Death Included</a:t>
                      </a:r>
                    </a:p>
                  </a:txBody>
                  <a:tcPr marL="365760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 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(but often just mothers and children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(but only when follow-on VA survey done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(but only when follow-on VA survey done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24955046"/>
                  </a:ext>
                </a:extLst>
              </a:tr>
              <a:tr h="223649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Country-Run</a:t>
                      </a:r>
                    </a:p>
                  </a:txBody>
                  <a:tcPr marL="365760"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N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chemeClr val="accent6"/>
                          </a:solidFill>
                        </a:rPr>
                        <a:t>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367561"/>
                  </a:ext>
                </a:extLst>
              </a:tr>
              <a:tr h="386795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Cost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$250k annually (population of 60k in rural setting)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accent6"/>
                          </a:solidFill>
                          <a:highlight>
                            <a:srgbClr val="FFFFFF"/>
                          </a:highlight>
                        </a:rPr>
                        <a:t>~$2-3M for VA survey, ~$2-4M for original DHS surve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6"/>
                          </a:solidFill>
                          <a:highlight>
                            <a:srgbClr val="FFFFFF"/>
                          </a:highlight>
                        </a:rPr>
                        <a:t>~$2M for VA survey, </a:t>
                      </a:r>
                      <a:r>
                        <a:rPr lang="en-US" sz="1000">
                          <a:solidFill>
                            <a:schemeClr val="accent6"/>
                          </a:solidFill>
                          <a:highlight>
                            <a:srgbClr val="FFFFFF"/>
                          </a:highlight>
                        </a:rPr>
                        <a:t>$1-8M </a:t>
                      </a:r>
                      <a:r>
                        <a:rPr lang="en-US" sz="1000" dirty="0">
                          <a:solidFill>
                            <a:schemeClr val="accent6"/>
                          </a:solidFill>
                          <a:highlight>
                            <a:srgbClr val="FFFFFF"/>
                          </a:highlight>
                        </a:rPr>
                        <a:t>for original census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~$1-2M annually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accent6"/>
                          </a:solidFill>
                        </a:rPr>
                        <a:t>~$4-7M annually or more</a:t>
                      </a:r>
                    </a:p>
                  </a:txBody>
                  <a:tcPr>
                    <a:lnL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749356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EABE097-12EC-49DB-B016-A6828981F862}"/>
              </a:ext>
            </a:extLst>
          </p:cNvPr>
          <p:cNvSpPr/>
          <p:nvPr/>
        </p:nvSpPr>
        <p:spPr>
          <a:xfrm rot="16200000">
            <a:off x="-255871" y="2636551"/>
            <a:ext cx="1575677" cy="33368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accent6"/>
                </a:solidFill>
              </a:rPr>
              <a:t>5 attributes of mortality surveillanc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F6B694-B1C8-4BAB-834E-A1ED38D7123B}"/>
              </a:ext>
            </a:extLst>
          </p:cNvPr>
          <p:cNvSpPr/>
          <p:nvPr/>
        </p:nvSpPr>
        <p:spPr>
          <a:xfrm>
            <a:off x="5768897" y="1388037"/>
            <a:ext cx="2827847" cy="3211671"/>
          </a:xfrm>
          <a:prstGeom prst="rect">
            <a:avLst/>
          </a:prstGeom>
          <a:noFill/>
          <a:ln w="2857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US" sz="1000" dirty="0">
              <a:solidFill>
                <a:schemeClr val="accent6"/>
              </a:solidFill>
            </a:endParaRPr>
          </a:p>
          <a:p>
            <a:pPr algn="ctr"/>
            <a:r>
              <a:rPr lang="en-US" sz="1000" dirty="0">
                <a:solidFill>
                  <a:schemeClr val="accent6"/>
                </a:solidFill>
              </a:rPr>
              <a:t>Only SRS and CRVS contain all 5 attributes</a:t>
            </a:r>
          </a:p>
        </p:txBody>
      </p:sp>
      <p:sp>
        <p:nvSpPr>
          <p:cNvPr id="12" name="Speech Bubble: Rectangle with Corners Rounded 11">
            <a:extLst>
              <a:ext uri="{FF2B5EF4-FFF2-40B4-BE49-F238E27FC236}">
                <a16:creationId xmlns:a16="http://schemas.microsoft.com/office/drawing/2014/main" id="{E7248273-AEE3-43F4-A640-958C5EDA732B}"/>
              </a:ext>
            </a:extLst>
          </p:cNvPr>
          <p:cNvSpPr/>
          <p:nvPr/>
        </p:nvSpPr>
        <p:spPr>
          <a:xfrm>
            <a:off x="2202947" y="4537311"/>
            <a:ext cx="3306238" cy="376195"/>
          </a:xfrm>
          <a:prstGeom prst="wedgeRoundRectCallout">
            <a:avLst>
              <a:gd name="adj1" fmla="val 16883"/>
              <a:gd name="adj2" fmla="val -87311"/>
              <a:gd name="adj3" fmla="val 16667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accent6"/>
                </a:solidFill>
              </a:rPr>
              <a:t>Traditional DHS, MICS, and censuses only include fact of death, not cause of death. Cause of death must be gathered through an additional survey.</a:t>
            </a:r>
          </a:p>
        </p:txBody>
      </p:sp>
    </p:spTree>
    <p:extLst>
      <p:ext uri="{BB962C8B-B14F-4D97-AF65-F5344CB8AC3E}">
        <p14:creationId xmlns:p14="http://schemas.microsoft.com/office/powerpoint/2010/main" val="1307511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BMGF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ates Ppt Template.pptx" id="{31E59E82-6114-4B90-993B-5260DBADC079}" vid="{55AC42A6-1FE8-4545-9BF5-1BFC3216FA3B}"/>
    </a:ext>
  </a:extLst>
</a:theme>
</file>

<file path=ppt/theme/theme2.xml><?xml version="1.0" encoding="utf-8"?>
<a:theme xmlns:a="http://schemas.openxmlformats.org/drawingml/2006/main" name="1_BMGF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ates Ppt Template.pptx" id="{31E59E82-6114-4B90-993B-5260DBADC079}" vid="{55AC42A6-1FE8-4545-9BF5-1BFC3216FA3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tes Ppt Template</Template>
  <TotalTime>6116</TotalTime>
  <Words>1692</Words>
  <Application>Microsoft Office PowerPoint</Application>
  <PresentationFormat>On-screen Show (16:9)</PresentationFormat>
  <Paragraphs>333</Paragraphs>
  <Slides>1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Arial</vt:lpstr>
      <vt:lpstr>Arial </vt:lpstr>
      <vt:lpstr>Arial Narrow</vt:lpstr>
      <vt:lpstr>Calibri</vt:lpstr>
      <vt:lpstr>Calibri Light</vt:lpstr>
      <vt:lpstr>Times New Roman</vt:lpstr>
      <vt:lpstr>Trebuchet MS</vt:lpstr>
      <vt:lpstr>Wingdings</vt:lpstr>
      <vt:lpstr>Wingdings 2</vt:lpstr>
      <vt:lpstr>BMGF</vt:lpstr>
      <vt:lpstr>1_BMGF</vt:lpstr>
      <vt:lpstr>think-cell Slide</vt:lpstr>
      <vt:lpstr>Improving mortality surveillance data in high mortality settings: cHAMPS and COMSA </vt:lpstr>
      <vt:lpstr>CHAMPS &amp; COMSA</vt:lpstr>
      <vt:lpstr>The child health and mortality prevention surveillance (champs) network</vt:lpstr>
      <vt:lpstr>PowerPoint Presentation</vt:lpstr>
      <vt:lpstr>PowerPoint Presentation</vt:lpstr>
      <vt:lpstr>PowerPoint Presentation</vt:lpstr>
      <vt:lpstr>comsa demonstration projects in Mozambique and Sierra leone</vt:lpstr>
      <vt:lpstr>PowerPoint Presentation</vt:lpstr>
      <vt:lpstr>Compared to other sources of cause of death, comsa can provide comprehensive data at low cost</vt:lpstr>
      <vt:lpstr>Srs can be implemented while building universal crvs</vt:lpstr>
      <vt:lpstr>Comsa Mozambique results (as of March 2019)</vt:lpstr>
      <vt:lpstr>Population by age and sex</vt:lpstr>
      <vt:lpstr>Current listing* of COMSA Population by province</vt:lpstr>
      <vt:lpstr>Births by Province</vt:lpstr>
      <vt:lpstr>Proportion of Births by Place of Delivery and Province</vt:lpstr>
      <vt:lpstr>Number of Deaths by Age and Province</vt:lpstr>
      <vt:lpstr>Proportion of Health Facility Deaths by Province</vt:lpstr>
      <vt:lpstr>new approach enables USE OF MITs/VA pairs to incrementally adjust VAs and Improve CAUSE OF DEATH DATA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SA Strategy</dc:title>
  <dc:creator>Abby Mayer (BCG Secondment)</dc:creator>
  <cp:lastModifiedBy>Kathryn Banke</cp:lastModifiedBy>
  <cp:revision>374</cp:revision>
  <cp:lastPrinted>2018-05-30T19:19:03Z</cp:lastPrinted>
  <dcterms:created xsi:type="dcterms:W3CDTF">2018-05-24T00:33:26Z</dcterms:created>
  <dcterms:modified xsi:type="dcterms:W3CDTF">2019-04-15T07:03:06Z</dcterms:modified>
</cp:coreProperties>
</file>